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FFD879_C5DF03C9.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664" r:id="rId7"/>
  </p:sldMasterIdLst>
  <p:notesMasterIdLst>
    <p:notesMasterId r:id="rId13"/>
  </p:notesMasterIdLst>
  <p:sldIdLst>
    <p:sldId id="281" r:id="rId8"/>
    <p:sldId id="2147471826" r:id="rId9"/>
    <p:sldId id="2147473530" r:id="rId10"/>
    <p:sldId id="2147473532" r:id="rId11"/>
    <p:sldId id="2147473529" r:id="rId12"/>
  </p:sldIdLst>
  <p:sldSz cx="12192000" cy="6858000"/>
  <p:notesSz cx="6858000" cy="9144000"/>
  <p:custDataLst>
    <p:tags r:id="rId14"/>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D32274D-9FF4-2CCB-B4FD-B816E9EACAB5}" name="Meer, Nelleke van der" initials="Md" userId="S::nelleke.van.der.meer@postnl.nl::a69d4b7d-2b23-4ec3-9b36-4bf1693a6601" providerId="AD"/>
  <p188:author id="{96183380-2B8C-53ED-3697-C00B19BD487B}" name="Zweeden, Anne van" initials="Zv" userId="S::anne.van.zweeden@postnl.nl::fd1393f9-1eae-40df-a7ad-512791116f0c"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D9D1E3-36CB-61B9-DD2E-99F130645BCF}" v="3" dt="2024-02-12T15:28:59.009"/>
    <p1510:client id="{25723209-742B-5912-A077-E8310576C047}" v="38" dt="2024-02-14T07:42:48.411"/>
    <p1510:client id="{48F082D8-1BC8-4326-A89A-3EC6B39F6823}" v="437" dt="2024-02-12T08:58:33.698"/>
    <p1510:client id="{F1B5B5D1-E9F2-996D-BB40-DBF9AF41C60D}" v="843" dt="2024-02-12T15:51:35.049"/>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5" Type="http://schemas.openxmlformats.org/officeDocument/2006/relationships/customXml" Target="../customXml/item5.xml"/><Relationship Id="rId15" Type="http://schemas.openxmlformats.org/officeDocument/2006/relationships/presProps" Target="presProps.xml"/><Relationship Id="rId10" Type="http://schemas.openxmlformats.org/officeDocument/2006/relationships/slide" Target="slides/slide3.xml"/><Relationship Id="rId19"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tags" Target="tags/tag1.xml"/></Relationships>
</file>

<file path=ppt/comments/modernComment_7FFFD879_C5DF03C9.xml><?xml version="1.0" encoding="utf-8"?>
<p188:cmLst xmlns:a="http://schemas.openxmlformats.org/drawingml/2006/main" xmlns:r="http://schemas.openxmlformats.org/officeDocument/2006/relationships" xmlns:p188="http://schemas.microsoft.com/office/powerpoint/2018/8/main">
  <p188:cm id="{63BE7865-3C7B-4408-84FF-762C9D4931D1}" authorId="{96183380-2B8C-53ED-3697-C00B19BD487B}" created="2024-02-12T14:34:00.461">
    <ac:txMkLst xmlns:ac="http://schemas.microsoft.com/office/drawing/2013/main/command">
      <pc:docMk xmlns:pc="http://schemas.microsoft.com/office/powerpoint/2013/main/command"/>
      <pc:sldMk xmlns:pc="http://schemas.microsoft.com/office/powerpoint/2013/main/command" cId="3319727049" sldId="2147473529"/>
      <ac:spMk id="6" creationId="{4F7CEAFE-0D3D-D63C-2046-2F81E3A7BFC0}"/>
      <ac:txMk cp="0">
        <ac:context len="1411" hash="1246172216"/>
      </ac:txMk>
    </ac:txMkLst>
    <p188:pos x="4237972" y="5720219"/>
    <p188:txBody>
      <a:bodyPr/>
      <a:lstStyle/>
      <a:p>
        <a:r>
          <a:rPr lang="nl-NL"/>
          <a:t>Bij Maurice navragen: bij ABN doet een centraal team dit?</a:t>
        </a:r>
      </a:p>
    </p188:txBody>
  </p188:cm>
  <p188:cm id="{98C50B77-8CB9-4609-BFBB-7A928CFB46EF}" authorId="{96183380-2B8C-53ED-3697-C00B19BD487B}" created="2024-02-12T14:35:11.761">
    <ac:deMkLst xmlns:ac="http://schemas.microsoft.com/office/drawing/2013/main/command">
      <pc:docMk xmlns:pc="http://schemas.microsoft.com/office/powerpoint/2013/main/command"/>
      <pc:sldMk xmlns:pc="http://schemas.microsoft.com/office/powerpoint/2013/main/command" cId="3319727049" sldId="2147473529"/>
      <ac:spMk id="6" creationId="{4F7CEAFE-0D3D-D63C-2046-2F81E3A7BFC0}"/>
    </ac:deMkLst>
    <p188:txBody>
      <a:bodyPr/>
      <a:lstStyle/>
      <a:p>
        <a:r>
          <a:rPr lang="nl-NL"/>
          <a:t>Bepaald ook weer de rollen verantwoordelijkheden</a:t>
        </a:r>
      </a:p>
    </p188:txBody>
  </p188:cm>
  <p188:cm id="{60B763BE-3514-4F56-B662-CB40F909F33A}" authorId="{96183380-2B8C-53ED-3697-C00B19BD487B}" created="2024-02-12T14:35:28.261">
    <ac:txMkLst xmlns:ac="http://schemas.microsoft.com/office/drawing/2013/main/command">
      <pc:docMk xmlns:pc="http://schemas.microsoft.com/office/powerpoint/2013/main/command"/>
      <pc:sldMk xmlns:pc="http://schemas.microsoft.com/office/powerpoint/2013/main/command" cId="3319727049" sldId="2147473529"/>
      <ac:spMk id="6" creationId="{4F7CEAFE-0D3D-D63C-2046-2F81E3A7BFC0}"/>
      <ac:txMk cp="0">
        <ac:context len="1411" hash="1246172216"/>
      </ac:txMk>
    </ac:txMkLst>
    <p188:pos x="2296438" y="3204575"/>
    <p188:replyLst>
      <p188:reply id="{14198EC3-6285-4011-AE71-6B0D1EDA6909}" authorId="{96183380-2B8C-53ED-3697-C00B19BD487B}" created="2024-02-12T14:38:43.190">
        <p188:txBody>
          <a:bodyPr/>
          <a:lstStyle/>
          <a:p>
            <a:r>
              <a:rPr lang="nl-NL"/>
              <a:t>Wie zegt ja of nee als een consument een product wilt afnemen?</a:t>
            </a:r>
          </a:p>
        </p188:txBody>
      </p188:reply>
    </p188:replyLst>
    <p188:txBody>
      <a:bodyPr/>
      <a:lstStyle/>
      <a:p>
        <a:r>
          <a:rPr lang="nl-NL"/>
          <a:t>Wat mag federatief en wat moet centraal?</a:t>
        </a:r>
      </a:p>
    </p188:txBody>
  </p188:cm>
  <p188:cm id="{70DD322A-776F-4666-B78D-F94A8D345743}" authorId="{2D32274D-9FF4-2CCB-B4FD-B816E9EACAB5}" created="2024-02-12T15:22:14.404">
    <pc:sldMkLst xmlns:pc="http://schemas.microsoft.com/office/powerpoint/2013/main/command">
      <pc:docMk/>
      <pc:sldMk cId="3319727049" sldId="2147473529"/>
    </pc:sldMkLst>
    <p188:txBody>
      <a:bodyPr/>
      <a:lstStyle/>
      <a:p>
        <a:r>
          <a:rPr lang="nl-NL"/>
          <a:t>Metadata management gaat ook over life cycle management van dataproducten en het daarbij behorende versiebeheer en change management van het data product. Als een dataproduct wordt aangepast, heb je metadata nodig om vast te stellen of het een terechte aanpassing is of dat er sprake is van een nieuw product. Ook zijn regels nodig over wel/ niet informeren van de afnemers van het product over de change (of beeindiging).
Een data product heeft een versie. Dit is metadata. Versiebeheer en de regels die daarbij horen bepalen hoe je omgaat met aanpassingen van het data product, met zaken zoals backward compatibility en wanneer een nieuwe major versie ontstaat.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3363C-126F-4B54-9771-71CFB753A9FE}" type="datetimeFigureOut">
              <a:rPr lang="en-US" smtClean="0"/>
              <a:t>2/16/2024</a:t>
            </a:fld>
            <a:endParaRPr lang="en-US" dirty="0"/>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err="1"/>
              <a:t>Klikken</a:t>
            </a:r>
            <a:r>
              <a:rPr lang="en-US" dirty="0"/>
              <a:t> om de </a:t>
            </a:r>
            <a:r>
              <a:rPr lang="en-US" dirty="0" err="1"/>
              <a:t>tekststijl</a:t>
            </a:r>
            <a:r>
              <a:rPr lang="en-US" dirty="0"/>
              <a:t> van het model te </a:t>
            </a:r>
            <a:r>
              <a:rPr lang="en-US" dirty="0" err="1"/>
              <a:t>bewerken</a:t>
            </a:r>
            <a:endParaRPr lang="en-US" dirty="0"/>
          </a:p>
          <a:p>
            <a:pPr lvl="1"/>
            <a:r>
              <a:rPr lang="en-US" dirty="0"/>
              <a:t>Tweede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en-US" dirty="0"/>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62A1BE-CE46-4BF5-901A-A25FD55F1E47}" type="slidenum">
              <a:rPr lang="en-US" smtClean="0"/>
              <a:t>‹nr.›</a:t>
            </a:fld>
            <a:endParaRPr lang="en-US" dirty="0"/>
          </a:p>
        </p:txBody>
      </p:sp>
    </p:spTree>
    <p:extLst>
      <p:ext uri="{BB962C8B-B14F-4D97-AF65-F5344CB8AC3E}">
        <p14:creationId xmlns:p14="http://schemas.microsoft.com/office/powerpoint/2010/main" val="4957451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176B4-2F3E-4542-A88B-B482618D0CAA}"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7717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t>NB: Capability </a:t>
            </a:r>
            <a:r>
              <a:rPr lang="en-US" dirty="0"/>
              <a:t>Master Data </a:t>
            </a:r>
            <a:r>
              <a:rPr lang="en-US" dirty="0" err="1"/>
              <a:t>gaat</a:t>
            </a:r>
            <a:r>
              <a:rPr lang="en-US" dirty="0"/>
              <a:t> over de data </a:t>
            </a:r>
            <a:r>
              <a:rPr lang="en-US" dirty="0" err="1"/>
              <a:t>laag</a:t>
            </a:r>
            <a:r>
              <a:rPr lang="en-US" dirty="0"/>
              <a:t>, </a:t>
            </a:r>
            <a:r>
              <a:rPr lang="en-US" dirty="0" err="1"/>
              <a:t>dus</a:t>
            </a:r>
            <a:r>
              <a:rPr lang="en-US" dirty="0"/>
              <a:t> alle </a:t>
            </a:r>
            <a:r>
              <a:rPr lang="en-US" dirty="0" err="1"/>
              <a:t>koppen</a:t>
            </a:r>
            <a:r>
              <a:rPr lang="en-US" dirty="0"/>
              <a:t> </a:t>
            </a:r>
            <a:r>
              <a:rPr lang="en-US" dirty="0" err="1"/>
              <a:t>zijn</a:t>
            </a:r>
            <a:r>
              <a:rPr lang="en-US" dirty="0"/>
              <a:t> </a:t>
            </a:r>
            <a:r>
              <a:rPr lang="en-US" dirty="0" err="1"/>
              <a:t>ingevuld</a:t>
            </a:r>
            <a:r>
              <a:rPr lang="en-US" dirty="0"/>
              <a:t> met data in </a:t>
            </a:r>
            <a:r>
              <a:rPr lang="en-US" dirty="0" err="1"/>
              <a:t>ons</a:t>
            </a:r>
            <a:r>
              <a:rPr lang="en-US" dirty="0"/>
              <a:t> </a:t>
            </a:r>
            <a:r>
              <a:rPr lang="en-US" dirty="0" err="1"/>
              <a:t>achterhoofd</a:t>
            </a:r>
            <a:r>
              <a:rPr lang="en-US" dirty="0"/>
              <a:t>. Tooling, </a:t>
            </a:r>
            <a:r>
              <a:rPr lang="en-US" dirty="0" err="1"/>
              <a:t>processen</a:t>
            </a:r>
            <a:r>
              <a:rPr lang="en-US" dirty="0"/>
              <a:t> en </a:t>
            </a:r>
            <a:r>
              <a:rPr lang="en-US" dirty="0" err="1"/>
              <a:t>andere</a:t>
            </a:r>
            <a:r>
              <a:rPr lang="en-US" dirty="0"/>
              <a:t> </a:t>
            </a:r>
            <a:r>
              <a:rPr lang="en-US" dirty="0" err="1"/>
              <a:t>zaken</a:t>
            </a:r>
            <a:r>
              <a:rPr lang="en-US" dirty="0"/>
              <a:t> om </a:t>
            </a:r>
            <a:r>
              <a:rPr lang="en-US" dirty="0" err="1"/>
              <a:t>deze</a:t>
            </a:r>
            <a:r>
              <a:rPr lang="en-US" dirty="0"/>
              <a:t> Capability </a:t>
            </a:r>
            <a:r>
              <a:rPr lang="en-US" dirty="0" err="1"/>
              <a:t>uit</a:t>
            </a:r>
            <a:r>
              <a:rPr lang="en-US" dirty="0"/>
              <a:t> te </a:t>
            </a:r>
            <a:r>
              <a:rPr lang="en-US" dirty="0" err="1"/>
              <a:t>voeren</a:t>
            </a:r>
            <a:r>
              <a:rPr lang="en-US" dirty="0"/>
              <a:t> </a:t>
            </a:r>
            <a:r>
              <a:rPr lang="en-US" dirty="0" err="1"/>
              <a:t>horen</a:t>
            </a:r>
            <a:r>
              <a:rPr lang="en-US" dirty="0"/>
              <a:t> </a:t>
            </a:r>
            <a:r>
              <a:rPr lang="en-US" dirty="0" err="1"/>
              <a:t>bij</a:t>
            </a:r>
            <a:r>
              <a:rPr lang="en-US" dirty="0"/>
              <a:t> de Capability Master Data Management. </a:t>
            </a:r>
          </a:p>
        </p:txBody>
      </p:sp>
      <p:sp>
        <p:nvSpPr>
          <p:cNvPr id="4" name="Tijdelijke aanduiding voor dianummer 3"/>
          <p:cNvSpPr>
            <a:spLocks noGrp="1"/>
          </p:cNvSpPr>
          <p:nvPr>
            <p:ph type="sldNum" sz="quarter" idx="5"/>
          </p:nvPr>
        </p:nvSpPr>
        <p:spPr/>
        <p:txBody>
          <a:bodyPr/>
          <a:lstStyle/>
          <a:p>
            <a:fld id="{F062A1BE-CE46-4BF5-901A-A25FD55F1E47}" type="slidenum">
              <a:rPr lang="en-US" smtClean="0"/>
              <a:t>3</a:t>
            </a:fld>
            <a:endParaRPr lang="en-US" dirty="0"/>
          </a:p>
        </p:txBody>
      </p:sp>
    </p:spTree>
    <p:extLst>
      <p:ext uri="{BB962C8B-B14F-4D97-AF65-F5344CB8AC3E}">
        <p14:creationId xmlns:p14="http://schemas.microsoft.com/office/powerpoint/2010/main" val="8552576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7.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eldia">
    <p:spTree>
      <p:nvGrpSpPr>
        <p:cNvPr id="1" name=""/>
        <p:cNvGrpSpPr/>
        <p:nvPr/>
      </p:nvGrpSpPr>
      <p:grpSpPr>
        <a:xfrm>
          <a:off x="0" y="0"/>
          <a:ext cx="0" cy="0"/>
          <a:chOff x="0" y="0"/>
          <a:chExt cx="0" cy="0"/>
        </a:xfrm>
      </p:grpSpPr>
      <p:sp>
        <p:nvSpPr>
          <p:cNvPr id="3" name="Ondertitel 2">
            <a:extLst>
              <a:ext uri="{FF2B5EF4-FFF2-40B4-BE49-F238E27FC236}">
                <a16:creationId xmlns:a16="http://schemas.microsoft.com/office/drawing/2014/main" id="{CEA18CD7-32A7-41E4-9DF7-7259FA2187F6}"/>
              </a:ext>
            </a:extLst>
          </p:cNvPr>
          <p:cNvSpPr>
            <a:spLocks noGrp="1"/>
          </p:cNvSpPr>
          <p:nvPr>
            <p:ph type="subTitle" idx="1" hasCustomPrompt="1"/>
          </p:nvPr>
        </p:nvSpPr>
        <p:spPr>
          <a:xfrm>
            <a:off x="322394" y="2144058"/>
            <a:ext cx="9144000" cy="332399"/>
          </a:xfrm>
        </p:spPr>
        <p:txBody>
          <a:bodyPr anchor="t">
            <a:spAutoFit/>
          </a:bodyPr>
          <a:lstStyle>
            <a:lvl1pPr marL="0" indent="0" algn="l">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a:t>Naam van de spreker - Locatie</a:t>
            </a:r>
          </a:p>
        </p:txBody>
      </p:sp>
      <p:sp>
        <p:nvSpPr>
          <p:cNvPr id="16" name="Tijdelijke aanduiding voor datum 15">
            <a:extLst>
              <a:ext uri="{FF2B5EF4-FFF2-40B4-BE49-F238E27FC236}">
                <a16:creationId xmlns:a16="http://schemas.microsoft.com/office/drawing/2014/main" id="{27BCED88-B9BB-EA9F-8439-A23095B56387}"/>
              </a:ext>
            </a:extLst>
          </p:cNvPr>
          <p:cNvSpPr>
            <a:spLocks noGrp="1"/>
          </p:cNvSpPr>
          <p:nvPr>
            <p:ph type="dt" sz="half" idx="10"/>
          </p:nvPr>
        </p:nvSpPr>
        <p:spPr>
          <a:xfrm>
            <a:off x="322394" y="6343650"/>
            <a:ext cx="5376862" cy="146050"/>
          </a:xfrm>
        </p:spPr>
        <p:txBody>
          <a:bodyPr/>
          <a:lstStyle>
            <a:lvl1pPr algn="l">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0D7F2B-733A-43AC-8C9C-AE79243317AF}" type="datetime4">
              <a:rPr kumimoji="0" lang="nl-NL" sz="1100" b="0" i="0" u="none" strike="noStrike" kern="1200" cap="none" spc="0" normalizeH="0" baseline="0" noProof="0" smtClean="0">
                <a:ln>
                  <a:noFill/>
                </a:ln>
                <a:solidFill>
                  <a:srgbClr val="001A73"/>
                </a:solidFill>
                <a:effectLst/>
                <a:uLnTx/>
                <a:uFillTx/>
                <a:latin typeface="Arial"/>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 februari 2024</a:t>
            </a:fld>
            <a:endParaRPr kumimoji="0" lang="nl-NL" sz="1100" b="0" i="0" u="none" strike="noStrike" kern="1200" cap="none" spc="0" normalizeH="0" baseline="0" noProof="0">
              <a:ln>
                <a:noFill/>
              </a:ln>
              <a:solidFill>
                <a:srgbClr val="001A73"/>
              </a:solidFill>
              <a:effectLst/>
              <a:uLnTx/>
              <a:uFillTx/>
              <a:latin typeface="Arial"/>
              <a:ea typeface="+mn-ea"/>
              <a:cs typeface="Segoe UI Light" panose="020B0502040204020203" pitchFamily="34" charset="0"/>
            </a:endParaRPr>
          </a:p>
        </p:txBody>
      </p:sp>
      <p:sp>
        <p:nvSpPr>
          <p:cNvPr id="18" name="Tijdelijke aanduiding voor voettekst 17">
            <a:extLst>
              <a:ext uri="{FF2B5EF4-FFF2-40B4-BE49-F238E27FC236}">
                <a16:creationId xmlns:a16="http://schemas.microsoft.com/office/drawing/2014/main" id="{3A539894-D7D7-57B8-5DC9-54CA5383C60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BCBCBC"/>
                </a:solidFill>
                <a:effectLst/>
                <a:uLnTx/>
                <a:uFillTx/>
                <a:latin typeface="Arial"/>
                <a:ea typeface="+mn-ea"/>
                <a:cs typeface="Segoe UI Light" panose="020B0502040204020203" pitchFamily="34" charset="0"/>
              </a:rPr>
              <a:t>Template-set PostNL</a:t>
            </a:r>
          </a:p>
        </p:txBody>
      </p:sp>
      <p:sp>
        <p:nvSpPr>
          <p:cNvPr id="19" name="Tijdelijke aanduiding voor dianummer 18">
            <a:extLst>
              <a:ext uri="{FF2B5EF4-FFF2-40B4-BE49-F238E27FC236}">
                <a16:creationId xmlns:a16="http://schemas.microsoft.com/office/drawing/2014/main" id="{F327F70B-4D0F-4911-36C3-490B4DEFF7E4}"/>
              </a:ext>
            </a:extLst>
          </p:cNvPr>
          <p:cNvSpPr>
            <a:spLocks noGrp="1"/>
          </p:cNvSpPr>
          <p:nvPr>
            <p:ph type="sldNum" sz="quarter" idx="12"/>
          </p:nvPr>
        </p:nvSpPr>
        <p:spPr>
          <a:xfrm>
            <a:off x="322394" y="6975834"/>
            <a:ext cx="270000" cy="14475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E843DB9-9987-4157-AB9C-CEA8D7D910BB}" type="slidenum">
              <a:rPr kumimoji="0" lang="nl-NL" sz="1100" b="0" i="0" u="none" strike="noStrike" kern="1200" cap="none" spc="0" normalizeH="0" baseline="0" noProof="0" smtClean="0">
                <a:ln>
                  <a:noFill/>
                </a:ln>
                <a:solidFill>
                  <a:srgbClr val="001A73"/>
                </a:solidFill>
                <a:effectLst/>
                <a:uLnTx/>
                <a:uFillTx/>
                <a:latin typeface="Arial"/>
                <a:ea typeface="+mn-ea"/>
                <a:cs typeface="Segoe UI Light" panose="020B0502040204020203"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r.›</a:t>
            </a:fld>
            <a:endParaRPr kumimoji="0" lang="nl-NL" sz="1100" b="0" i="0" u="none" strike="noStrike" kern="1200" cap="none" spc="0" normalizeH="0" baseline="0" noProof="0">
              <a:ln>
                <a:noFill/>
              </a:ln>
              <a:solidFill>
                <a:srgbClr val="001A73"/>
              </a:solidFill>
              <a:effectLst/>
              <a:uLnTx/>
              <a:uFillTx/>
              <a:latin typeface="Arial"/>
              <a:ea typeface="+mn-ea"/>
              <a:cs typeface="Segoe UI Light" panose="020B0502040204020203" pitchFamily="34" charset="0"/>
            </a:endParaRPr>
          </a:p>
        </p:txBody>
      </p:sp>
      <p:pic>
        <p:nvPicPr>
          <p:cNvPr id="6" name="logo oranje">
            <a:extLst>
              <a:ext uri="{FF2B5EF4-FFF2-40B4-BE49-F238E27FC236}">
                <a16:creationId xmlns:a16="http://schemas.microsoft.com/office/drawing/2014/main" id="{E05AF3EE-71F1-4B46-BC2E-F4859642AF1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11153" y="5087942"/>
            <a:ext cx="1602252" cy="1602252"/>
          </a:xfrm>
          <a:prstGeom prst="rect">
            <a:avLst/>
          </a:prstGeom>
        </p:spPr>
      </p:pic>
      <p:sp>
        <p:nvSpPr>
          <p:cNvPr id="9" name="Tijdelijke aanduiding voor tekst 8">
            <a:extLst>
              <a:ext uri="{FF2B5EF4-FFF2-40B4-BE49-F238E27FC236}">
                <a16:creationId xmlns:a16="http://schemas.microsoft.com/office/drawing/2014/main" id="{7271582A-3891-E402-66A7-FF4E74329413}"/>
              </a:ext>
            </a:extLst>
          </p:cNvPr>
          <p:cNvSpPr>
            <a:spLocks noGrp="1"/>
          </p:cNvSpPr>
          <p:nvPr>
            <p:ph type="body" sz="quarter" idx="13" hasCustomPrompt="1"/>
          </p:nvPr>
        </p:nvSpPr>
        <p:spPr>
          <a:xfrm>
            <a:off x="322394" y="375760"/>
            <a:ext cx="9144000" cy="1647951"/>
          </a:xfrm>
        </p:spPr>
        <p:txBody>
          <a:bodyPr/>
          <a:lstStyle>
            <a:lvl1pPr marL="0" indent="0">
              <a:lnSpc>
                <a:spcPct val="80000"/>
              </a:lnSpc>
              <a:spcBef>
                <a:spcPts val="0"/>
              </a:spcBef>
              <a:spcAft>
                <a:spcPts val="0"/>
              </a:spcAft>
              <a:buFontTx/>
              <a:buNone/>
              <a:defRPr sz="6600" b="1"/>
            </a:lvl1pPr>
          </a:lstStyle>
          <a:p>
            <a:pPr lvl="0"/>
            <a:r>
              <a:rPr lang="nl-NL"/>
              <a:t>Titel van de</a:t>
            </a:r>
            <a:br>
              <a:rPr lang="nl-NL"/>
            </a:br>
            <a:r>
              <a:rPr lang="nl-NL"/>
              <a:t>presentatie</a:t>
            </a:r>
            <a:endParaRPr lang="en-GB"/>
          </a:p>
        </p:txBody>
      </p:sp>
      <p:sp>
        <p:nvSpPr>
          <p:cNvPr id="10" name="Titel 9">
            <a:extLst>
              <a:ext uri="{FF2B5EF4-FFF2-40B4-BE49-F238E27FC236}">
                <a16:creationId xmlns:a16="http://schemas.microsoft.com/office/drawing/2014/main" id="{44429847-FC03-306F-6AEE-04E094B2F092}"/>
              </a:ext>
            </a:extLst>
          </p:cNvPr>
          <p:cNvSpPr>
            <a:spLocks noGrp="1"/>
          </p:cNvSpPr>
          <p:nvPr>
            <p:ph type="title" hasCustomPrompt="1"/>
          </p:nvPr>
        </p:nvSpPr>
        <p:spPr>
          <a:xfrm>
            <a:off x="0" y="-306447"/>
            <a:ext cx="1045300" cy="186100"/>
          </a:xfrm>
        </p:spPr>
        <p:txBody>
          <a:bodyPr/>
          <a:lstStyle>
            <a:lvl1pPr>
              <a:defRPr sz="1400" b="0">
                <a:solidFill>
                  <a:schemeClr val="accent1"/>
                </a:solidFill>
              </a:defRPr>
            </a:lvl1pPr>
          </a:lstStyle>
          <a:p>
            <a:r>
              <a:rPr lang="nl-NL" err="1"/>
              <a:t>Titeldia</a:t>
            </a:r>
            <a:endParaRPr lang="en-GB"/>
          </a:p>
        </p:txBody>
      </p:sp>
      <p:pic>
        <p:nvPicPr>
          <p:cNvPr id="2" name="Picture 1" descr="A blue and black curved object&#10;&#10;Description automatically generated">
            <a:extLst>
              <a:ext uri="{FF2B5EF4-FFF2-40B4-BE49-F238E27FC236}">
                <a16:creationId xmlns:a16="http://schemas.microsoft.com/office/drawing/2014/main" id="{94C049D8-CD5B-EC3D-A943-DAC9D73250A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27574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750"/>
                                        <p:tgtEl>
                                          <p:spTgt spid="3">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750"/>
                                        <p:tgtEl>
                                          <p:spTgt spid="16"/>
                                        </p:tgtEl>
                                      </p:cBhvr>
                                    </p:animEffect>
                                  </p:childTnLst>
                                </p:cTn>
                              </p:par>
                              <p:par>
                                <p:cTn id="11" presetID="10" presetClass="entr" presetSubtype="0" fill="hold" nodeType="withEffect">
                                  <p:stCondLst>
                                    <p:cond delay="10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250"/>
                                        <p:tgtEl>
                                          <p:spTgt spid="6"/>
                                        </p:tgtEl>
                                      </p:cBhvr>
                                    </p:animEffect>
                                  </p:childTnLst>
                                </p:cTn>
                              </p:par>
                              <p:par>
                                <p:cTn id="14" presetID="42" presetClass="path" presetSubtype="0" decel="100000" fill="hold" nodeType="withEffect">
                                  <p:stCondLst>
                                    <p:cond delay="1000"/>
                                  </p:stCondLst>
                                  <p:childTnLst>
                                    <p:animMotion origin="layout" path="M 0.01666 -0.00046 L 3.75E-6 1.85185E-6 " pathEditMode="relative" rAng="0" ptsTypes="AA">
                                      <p:cBhvr>
                                        <p:cTn id="15" dur="500" fill="hold"/>
                                        <p:tgtEl>
                                          <p:spTgt spid="6"/>
                                        </p:tgtEl>
                                        <p:attrNameLst>
                                          <p:attrName>ppt_x</p:attrName>
                                          <p:attrName>ppt_y</p:attrName>
                                        </p:attrNameLst>
                                      </p:cBhvr>
                                      <p:rCtr x="-83300" y="2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0" presetClass="entr" presetSubtype="0" fill="hold" nodeType="withEffect">
                  <p:stCondLst>
                    <p:cond delay="25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16" grpId="0"/>
    </p:bldLst>
  </p:timing>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eeld Link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48000" y="1663700"/>
            <a:ext cx="6624000" cy="4212000"/>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16" name="Picture Placeholder 15"/>
          <p:cNvSpPr>
            <a:spLocks noGrp="1"/>
          </p:cNvSpPr>
          <p:nvPr>
            <p:ph type="pic" sz="quarter" idx="13"/>
          </p:nvPr>
        </p:nvSpPr>
        <p:spPr bwMode="gray">
          <a:xfrm>
            <a:off x="0" y="0"/>
            <a:ext cx="4065588" cy="6343650"/>
          </a:xfrm>
          <a:custGeom>
            <a:avLst/>
            <a:gdLst>
              <a:gd name="connsiteX0" fmla="*/ 0 w 4065588"/>
              <a:gd name="connsiteY0" fmla="*/ 0 h 6343650"/>
              <a:gd name="connsiteX1" fmla="*/ 4065588 w 4065588"/>
              <a:gd name="connsiteY1" fmla="*/ 0 h 6343650"/>
              <a:gd name="connsiteX2" fmla="*/ 4065588 w 4065588"/>
              <a:gd name="connsiteY2" fmla="*/ 6343650 h 6343650"/>
              <a:gd name="connsiteX3" fmla="*/ 0 w 4065588"/>
              <a:gd name="connsiteY3" fmla="*/ 6343650 h 6343650"/>
            </a:gdLst>
            <a:ahLst/>
            <a:cxnLst>
              <a:cxn ang="0">
                <a:pos x="connsiteX0" y="connsiteY0"/>
              </a:cxn>
              <a:cxn ang="0">
                <a:pos x="connsiteX1" y="connsiteY1"/>
              </a:cxn>
              <a:cxn ang="0">
                <a:pos x="connsiteX2" y="connsiteY2"/>
              </a:cxn>
              <a:cxn ang="0">
                <a:pos x="connsiteX3" y="connsiteY3"/>
              </a:cxn>
            </a:cxnLst>
            <a:rect l="l" t="t" r="r" b="b"/>
            <a:pathLst>
              <a:path w="4065588" h="6343650">
                <a:moveTo>
                  <a:pt x="0" y="0"/>
                </a:moveTo>
                <a:lnTo>
                  <a:pt x="4065588" y="0"/>
                </a:lnTo>
                <a:lnTo>
                  <a:pt x="4065588" y="6343650"/>
                </a:lnTo>
                <a:lnTo>
                  <a:pt x="0" y="6343650"/>
                </a:lnTo>
                <a:close/>
              </a:path>
            </a:pathLst>
          </a:custGeom>
          <a:noFill/>
        </p:spPr>
        <p:txBody>
          <a:bodyPr wrap="square" lIns="360000" tIns="360000" rIns="360000" bIns="360000">
            <a:noAutofit/>
          </a:bodyPr>
          <a:lstStyle/>
          <a:p>
            <a:r>
              <a:rPr lang="nl-NL"/>
              <a:t>Klik op het pictogram als u een afbeelding wilt toevoegen</a:t>
            </a:r>
          </a:p>
        </p:txBody>
      </p:sp>
      <p:sp>
        <p:nvSpPr>
          <p:cNvPr id="7" name="Footer Placeholder 6"/>
          <p:cNvSpPr>
            <a:spLocks noGrp="1"/>
          </p:cNvSpPr>
          <p:nvPr>
            <p:ph type="ftr" sz="quarter" idx="14"/>
          </p:nvPr>
        </p:nvSpPr>
        <p:spPr/>
        <p:txBody>
          <a:bodyPr/>
          <a:lstStyle/>
          <a:p>
            <a:r>
              <a:rPr lang="nl-NL"/>
              <a:t>PostNL voettekst</a:t>
            </a:r>
          </a:p>
        </p:txBody>
      </p:sp>
      <p:sp>
        <p:nvSpPr>
          <p:cNvPr id="8" name="Slide Number Placeholder 7"/>
          <p:cNvSpPr>
            <a:spLocks noGrp="1"/>
          </p:cNvSpPr>
          <p:nvPr>
            <p:ph type="sldNum" sz="quarter" idx="15"/>
          </p:nvPr>
        </p:nvSpPr>
        <p:spPr/>
        <p:txBody>
          <a:bodyPr/>
          <a:lstStyle/>
          <a:p>
            <a:fld id="{A1BC669C-0B8C-4F49-8D0F-E81255670A63}" type="slidenum">
              <a:rPr lang="nl-NL" smtClean="0"/>
              <a:pPr/>
              <a:t>‹nr.›</a:t>
            </a:fld>
            <a:endParaRPr lang="nl-NL"/>
          </a:p>
        </p:txBody>
      </p:sp>
      <p:sp>
        <p:nvSpPr>
          <p:cNvPr id="9" name="Date Placeholder 8"/>
          <p:cNvSpPr>
            <a:spLocks noGrp="1"/>
          </p:cNvSpPr>
          <p:nvPr>
            <p:ph type="dt" sz="half" idx="16"/>
          </p:nvPr>
        </p:nvSpPr>
        <p:spPr/>
        <p:txBody>
          <a:bodyPr/>
          <a:lstStyle/>
          <a:p>
            <a:r>
              <a:rPr lang="nl-NL"/>
              <a:t>Den Haag • 00 maand jaar</a:t>
            </a:r>
          </a:p>
        </p:txBody>
      </p:sp>
      <p:sp>
        <p:nvSpPr>
          <p:cNvPr id="10" name="Text Placeholder 12"/>
          <p:cNvSpPr>
            <a:spLocks noGrp="1"/>
          </p:cNvSpPr>
          <p:nvPr>
            <p:ph type="body" sz="quarter" idx="17" hasCustomPrompt="1"/>
          </p:nvPr>
        </p:nvSpPr>
        <p:spPr>
          <a:xfrm>
            <a:off x="4548000" y="847724"/>
            <a:ext cx="6624000" cy="442855"/>
          </a:xfrm>
        </p:spPr>
        <p:txBody>
          <a:bodyPr>
            <a:noAutofit/>
          </a:bodyPr>
          <a:lstStyle>
            <a:lvl1pPr>
              <a:spcBef>
                <a:spcPts val="0"/>
              </a:spcBef>
              <a:defRPr b="1">
                <a:solidFill>
                  <a:srgbClr val="ED8C00"/>
                </a:solidFill>
              </a:defRPr>
            </a:lvl1pPr>
          </a:lstStyle>
          <a:p>
            <a:pPr lvl="0"/>
            <a:r>
              <a:rPr lang="nl-NL" noProof="0"/>
              <a:t>Klik om een subtitle te maken</a:t>
            </a:r>
          </a:p>
        </p:txBody>
      </p:sp>
      <p:sp>
        <p:nvSpPr>
          <p:cNvPr id="12" name="Line 6"/>
          <p:cNvSpPr>
            <a:spLocks noChangeShapeType="1"/>
          </p:cNvSpPr>
          <p:nvPr userDrawn="1"/>
        </p:nvSpPr>
        <p:spPr bwMode="auto">
          <a:xfrm>
            <a:off x="4548000" y="1358900"/>
            <a:ext cx="6624000" cy="0"/>
          </a:xfrm>
          <a:prstGeom prst="line">
            <a:avLst/>
          </a:prstGeom>
          <a:noFill/>
          <a:ln w="6350" cap="flat">
            <a:solidFill>
              <a:srgbClr val="ADB5C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 name="Title 13"/>
          <p:cNvSpPr>
            <a:spLocks noGrp="1"/>
          </p:cNvSpPr>
          <p:nvPr>
            <p:ph type="title"/>
          </p:nvPr>
        </p:nvSpPr>
        <p:spPr>
          <a:xfrm>
            <a:off x="4548000" y="260350"/>
            <a:ext cx="6624000" cy="1030230"/>
          </a:xfrm>
        </p:spPr>
        <p:txBody>
          <a:bodyPr/>
          <a:lstStyle/>
          <a:p>
            <a:r>
              <a:rPr lang="nl-NL"/>
              <a:t>Klik om de stijl te bewerken</a:t>
            </a:r>
          </a:p>
        </p:txBody>
      </p:sp>
    </p:spTree>
    <p:extLst>
      <p:ext uri="{BB962C8B-B14F-4D97-AF65-F5344CB8AC3E}">
        <p14:creationId xmlns:p14="http://schemas.microsoft.com/office/powerpoint/2010/main" val="3870058442"/>
      </p:ext>
    </p:extLst>
  </p:cSld>
  <p:clrMapOvr>
    <a:masterClrMapping/>
  </p:clrMapOvr>
  <p:extLst>
    <p:ext uri="{DCECCB84-F9BA-43D5-87BE-67443E8EF086}">
      <p15:sldGuideLst xmlns:p15="http://schemas.microsoft.com/office/powerpoint/2012/main">
        <p15:guide id="1" pos="2562">
          <p15:clr>
            <a:srgbClr val="FBAE40"/>
          </p15:clr>
        </p15:guide>
        <p15:guide id="2" pos="2865">
          <p15:clr>
            <a:srgbClr val="FBAE40"/>
          </p15:clr>
        </p15:guide>
        <p15:guide id="3" pos="7038">
          <p15:clr>
            <a:srgbClr val="FBAE40"/>
          </p15:clr>
        </p15:guide>
        <p15:guide id="4" orient="horz" pos="1049">
          <p15:clr>
            <a:srgbClr val="FBAE40"/>
          </p15:clr>
        </p15:guide>
        <p15:guide id="5" orient="horz" pos="3702">
          <p15:clr>
            <a:srgbClr val="FBAE40"/>
          </p15:clr>
        </p15:guide>
        <p15:guide id="6" orient="horz" pos="16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eeld Rechts">
    <p:spTree>
      <p:nvGrpSpPr>
        <p:cNvPr id="1" name=""/>
        <p:cNvGrpSpPr/>
        <p:nvPr/>
      </p:nvGrpSpPr>
      <p:grpSpPr>
        <a:xfrm>
          <a:off x="0" y="0"/>
          <a:ext cx="0" cy="0"/>
          <a:chOff x="0" y="0"/>
          <a:chExt cx="0" cy="0"/>
        </a:xfrm>
      </p:grpSpPr>
      <p:sp>
        <p:nvSpPr>
          <p:cNvPr id="6" name="Title 5"/>
          <p:cNvSpPr>
            <a:spLocks noGrp="1"/>
          </p:cNvSpPr>
          <p:nvPr>
            <p:ph type="title"/>
          </p:nvPr>
        </p:nvSpPr>
        <p:spPr>
          <a:xfrm>
            <a:off x="1020000" y="260350"/>
            <a:ext cx="6624000" cy="1030230"/>
          </a:xfrm>
        </p:spPr>
        <p:txBody>
          <a:bodyPr/>
          <a:lstStyle/>
          <a:p>
            <a:r>
              <a:rPr lang="nl-NL"/>
              <a:t>Klik om de stijl te bewerken</a:t>
            </a:r>
          </a:p>
        </p:txBody>
      </p:sp>
      <p:sp>
        <p:nvSpPr>
          <p:cNvPr id="11" name="Picture Placeholder 10"/>
          <p:cNvSpPr>
            <a:spLocks noGrp="1"/>
          </p:cNvSpPr>
          <p:nvPr>
            <p:ph type="pic" sz="quarter" idx="13"/>
          </p:nvPr>
        </p:nvSpPr>
        <p:spPr bwMode="gray">
          <a:xfrm>
            <a:off x="8126412" y="0"/>
            <a:ext cx="4065588" cy="6343650"/>
          </a:xfrm>
          <a:custGeom>
            <a:avLst/>
            <a:gdLst>
              <a:gd name="connsiteX0" fmla="*/ 0 w 4065588"/>
              <a:gd name="connsiteY0" fmla="*/ 0 h 6343650"/>
              <a:gd name="connsiteX1" fmla="*/ 4065588 w 4065588"/>
              <a:gd name="connsiteY1" fmla="*/ 0 h 6343650"/>
              <a:gd name="connsiteX2" fmla="*/ 4065588 w 4065588"/>
              <a:gd name="connsiteY2" fmla="*/ 6343650 h 6343650"/>
              <a:gd name="connsiteX3" fmla="*/ 3632196 w 4065588"/>
              <a:gd name="connsiteY3" fmla="*/ 6343650 h 6343650"/>
              <a:gd name="connsiteX4" fmla="*/ 3633788 w 4065588"/>
              <a:gd name="connsiteY4" fmla="*/ 6335714 h 6343650"/>
              <a:gd name="connsiteX5" fmla="*/ 3417888 w 4065588"/>
              <a:gd name="connsiteY5" fmla="*/ 6114426 h 6343650"/>
              <a:gd name="connsiteX6" fmla="*/ 3138488 w 4065588"/>
              <a:gd name="connsiteY6" fmla="*/ 6018214 h 6343650"/>
              <a:gd name="connsiteX7" fmla="*/ 3090863 w 4065588"/>
              <a:gd name="connsiteY7" fmla="*/ 6031043 h 6343650"/>
              <a:gd name="connsiteX8" fmla="*/ 3021013 w 4065588"/>
              <a:gd name="connsiteY8" fmla="*/ 6152911 h 6343650"/>
              <a:gd name="connsiteX9" fmla="*/ 2998788 w 4065588"/>
              <a:gd name="connsiteY9" fmla="*/ 6335714 h 6343650"/>
              <a:gd name="connsiteX10" fmla="*/ 2999240 w 4065588"/>
              <a:gd name="connsiteY10" fmla="*/ 6343650 h 6343650"/>
              <a:gd name="connsiteX11" fmla="*/ 0 w 4065588"/>
              <a:gd name="connsiteY11"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65588" h="6343650">
                <a:moveTo>
                  <a:pt x="0" y="0"/>
                </a:moveTo>
                <a:lnTo>
                  <a:pt x="4065588" y="0"/>
                </a:lnTo>
                <a:lnTo>
                  <a:pt x="4065588" y="6343650"/>
                </a:lnTo>
                <a:lnTo>
                  <a:pt x="3632196" y="6343650"/>
                </a:lnTo>
                <a:lnTo>
                  <a:pt x="3633788" y="6335714"/>
                </a:lnTo>
                <a:cubicBezTo>
                  <a:pt x="3633788" y="6265159"/>
                  <a:pt x="3506788" y="6162532"/>
                  <a:pt x="3417888" y="6114426"/>
                </a:cubicBezTo>
                <a:cubicBezTo>
                  <a:pt x="3335338" y="6069527"/>
                  <a:pt x="3214688" y="6018214"/>
                  <a:pt x="3138488" y="6018214"/>
                </a:cubicBezTo>
                <a:cubicBezTo>
                  <a:pt x="3119438" y="6018214"/>
                  <a:pt x="3100388" y="6021421"/>
                  <a:pt x="3090863" y="6031043"/>
                </a:cubicBezTo>
                <a:cubicBezTo>
                  <a:pt x="3062288" y="6043871"/>
                  <a:pt x="3036888" y="6088770"/>
                  <a:pt x="3021013" y="6152911"/>
                </a:cubicBezTo>
                <a:cubicBezTo>
                  <a:pt x="3008313" y="6207431"/>
                  <a:pt x="2998788" y="6274780"/>
                  <a:pt x="2998788" y="6335714"/>
                </a:cubicBezTo>
                <a:lnTo>
                  <a:pt x="2999240" y="6343650"/>
                </a:lnTo>
                <a:lnTo>
                  <a:pt x="0" y="6343650"/>
                </a:lnTo>
                <a:close/>
              </a:path>
            </a:pathLst>
          </a:custGeom>
          <a:noFill/>
        </p:spPr>
        <p:txBody>
          <a:bodyPr wrap="square" lIns="360000" tIns="360000" rIns="360000" bIns="360000">
            <a:noAutofit/>
          </a:bodyPr>
          <a:lstStyle/>
          <a:p>
            <a:r>
              <a:rPr lang="nl-NL"/>
              <a:t>Klik op het pictogram als u een afbeelding wilt toevoegen</a:t>
            </a:r>
          </a:p>
        </p:txBody>
      </p:sp>
      <p:sp>
        <p:nvSpPr>
          <p:cNvPr id="3" name="Content Placeholder 2"/>
          <p:cNvSpPr>
            <a:spLocks noGrp="1"/>
          </p:cNvSpPr>
          <p:nvPr>
            <p:ph idx="1"/>
          </p:nvPr>
        </p:nvSpPr>
        <p:spPr>
          <a:xfrm>
            <a:off x="1019998" y="1663700"/>
            <a:ext cx="6624000" cy="4212000"/>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7" name="Footer Placeholder 6"/>
          <p:cNvSpPr>
            <a:spLocks noGrp="1"/>
          </p:cNvSpPr>
          <p:nvPr>
            <p:ph type="ftr" sz="quarter" idx="14"/>
          </p:nvPr>
        </p:nvSpPr>
        <p:spPr/>
        <p:txBody>
          <a:bodyPr/>
          <a:lstStyle/>
          <a:p>
            <a:r>
              <a:rPr lang="nl-NL"/>
              <a:t>PostNL voettekst</a:t>
            </a:r>
          </a:p>
        </p:txBody>
      </p:sp>
      <p:sp>
        <p:nvSpPr>
          <p:cNvPr id="8" name="Slide Number Placeholder 7"/>
          <p:cNvSpPr>
            <a:spLocks noGrp="1"/>
          </p:cNvSpPr>
          <p:nvPr>
            <p:ph type="sldNum" sz="quarter" idx="15"/>
          </p:nvPr>
        </p:nvSpPr>
        <p:spPr/>
        <p:txBody>
          <a:bodyPr/>
          <a:lstStyle/>
          <a:p>
            <a:fld id="{A1BC669C-0B8C-4F49-8D0F-E81255670A63}" type="slidenum">
              <a:rPr lang="nl-NL" smtClean="0"/>
              <a:pPr/>
              <a:t>‹nr.›</a:t>
            </a:fld>
            <a:endParaRPr lang="nl-NL"/>
          </a:p>
        </p:txBody>
      </p:sp>
      <p:sp>
        <p:nvSpPr>
          <p:cNvPr id="9" name="Date Placeholder 8"/>
          <p:cNvSpPr>
            <a:spLocks noGrp="1"/>
          </p:cNvSpPr>
          <p:nvPr>
            <p:ph type="dt" sz="half" idx="16"/>
          </p:nvPr>
        </p:nvSpPr>
        <p:spPr/>
        <p:txBody>
          <a:bodyPr/>
          <a:lstStyle/>
          <a:p>
            <a:r>
              <a:rPr lang="nl-NL"/>
              <a:t>Den Haag • 00 maand jaar</a:t>
            </a:r>
          </a:p>
        </p:txBody>
      </p:sp>
      <p:sp>
        <p:nvSpPr>
          <p:cNvPr id="10" name="Text Placeholder 12"/>
          <p:cNvSpPr>
            <a:spLocks noGrp="1"/>
          </p:cNvSpPr>
          <p:nvPr>
            <p:ph type="body" sz="quarter" idx="17" hasCustomPrompt="1"/>
          </p:nvPr>
        </p:nvSpPr>
        <p:spPr>
          <a:xfrm>
            <a:off x="1019998" y="847724"/>
            <a:ext cx="6624000" cy="442855"/>
          </a:xfrm>
        </p:spPr>
        <p:txBody>
          <a:bodyPr>
            <a:noAutofit/>
          </a:bodyPr>
          <a:lstStyle>
            <a:lvl1pPr>
              <a:spcBef>
                <a:spcPts val="0"/>
              </a:spcBef>
              <a:defRPr b="1">
                <a:solidFill>
                  <a:srgbClr val="ED8C00"/>
                </a:solidFill>
              </a:defRPr>
            </a:lvl1pPr>
          </a:lstStyle>
          <a:p>
            <a:pPr lvl="0"/>
            <a:r>
              <a:rPr lang="nl-NL" noProof="0"/>
              <a:t>Klik om een subtitle te maken</a:t>
            </a:r>
          </a:p>
        </p:txBody>
      </p:sp>
      <p:sp>
        <p:nvSpPr>
          <p:cNvPr id="15" name="Line 6"/>
          <p:cNvSpPr>
            <a:spLocks noChangeShapeType="1"/>
          </p:cNvSpPr>
          <p:nvPr userDrawn="1"/>
        </p:nvSpPr>
        <p:spPr bwMode="auto">
          <a:xfrm>
            <a:off x="1020000" y="1358900"/>
            <a:ext cx="6624000" cy="0"/>
          </a:xfrm>
          <a:prstGeom prst="line">
            <a:avLst/>
          </a:prstGeom>
          <a:noFill/>
          <a:ln w="6350" cap="flat">
            <a:solidFill>
              <a:srgbClr val="ADB5C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Tree>
    <p:extLst>
      <p:ext uri="{BB962C8B-B14F-4D97-AF65-F5344CB8AC3E}">
        <p14:creationId xmlns:p14="http://schemas.microsoft.com/office/powerpoint/2010/main" val="3494681238"/>
      </p:ext>
    </p:extLst>
  </p:cSld>
  <p:clrMapOvr>
    <a:masterClrMapping/>
  </p:clrMapOvr>
  <p:extLst>
    <p:ext uri="{DCECCB84-F9BA-43D5-87BE-67443E8EF086}">
      <p15:sldGuideLst xmlns:p15="http://schemas.microsoft.com/office/powerpoint/2012/main">
        <p15:guide id="1" pos="642">
          <p15:clr>
            <a:srgbClr val="FBAE40"/>
          </p15:clr>
        </p15:guide>
        <p15:guide id="2" pos="4815">
          <p15:clr>
            <a:srgbClr val="FBAE40"/>
          </p15:clr>
        </p15:guide>
        <p15:guide id="3" pos="5114">
          <p15:clr>
            <a:srgbClr val="FBAE40"/>
          </p15:clr>
        </p15:guide>
        <p15:guide id="4" orient="horz" pos="3702">
          <p15:clr>
            <a:srgbClr val="FBAE40"/>
          </p15:clr>
        </p15:guide>
        <p15:guide id="5" orient="horz" pos="1049">
          <p15:clr>
            <a:srgbClr val="FBAE40"/>
          </p15:clr>
        </p15:guide>
        <p15:guide id="6" orient="horz" pos="16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oofdstuk venster rechtsboven groot">
    <p:bg>
      <p:bgPr>
        <a:solidFill>
          <a:srgbClr val="ADB5C5"/>
        </a:solidFill>
        <a:effectLst/>
      </p:bgPr>
    </p:bg>
    <p:spTree>
      <p:nvGrpSpPr>
        <p:cNvPr id="1" name=""/>
        <p:cNvGrpSpPr/>
        <p:nvPr/>
      </p:nvGrpSpPr>
      <p:grpSpPr>
        <a:xfrm>
          <a:off x="0" y="0"/>
          <a:ext cx="0" cy="0"/>
          <a:chOff x="0" y="0"/>
          <a:chExt cx="0" cy="0"/>
        </a:xfrm>
      </p:grpSpPr>
      <p:sp>
        <p:nvSpPr>
          <p:cNvPr id="67" name="Title 66"/>
          <p:cNvSpPr>
            <a:spLocks noGrp="1"/>
          </p:cNvSpPr>
          <p:nvPr>
            <p:ph type="title" hasCustomPrompt="1"/>
          </p:nvPr>
        </p:nvSpPr>
        <p:spPr bwMode="gray">
          <a:xfrm>
            <a:off x="4410000" y="680400"/>
            <a:ext cx="7128000" cy="2203450"/>
          </a:xfrm>
          <a:custGeom>
            <a:avLst/>
            <a:gdLst>
              <a:gd name="connsiteX0" fmla="*/ 133650 w 7128000"/>
              <a:gd name="connsiteY0" fmla="*/ 0 h 2203450"/>
              <a:gd name="connsiteX1" fmla="*/ 6991168 w 7128000"/>
              <a:gd name="connsiteY1" fmla="*/ 0 h 2203450"/>
              <a:gd name="connsiteX2" fmla="*/ 7128000 w 7128000"/>
              <a:gd name="connsiteY2" fmla="*/ 136525 h 2203450"/>
              <a:gd name="connsiteX3" fmla="*/ 7128000 w 7128000"/>
              <a:gd name="connsiteY3" fmla="*/ 2066925 h 2203450"/>
              <a:gd name="connsiteX4" fmla="*/ 6991168 w 7128000"/>
              <a:gd name="connsiteY4" fmla="*/ 2203450 h 2203450"/>
              <a:gd name="connsiteX5" fmla="*/ 0 w 7128000"/>
              <a:gd name="connsiteY5" fmla="*/ 2203450 h 2203450"/>
              <a:gd name="connsiteX6" fmla="*/ 0 w 7128000"/>
              <a:gd name="connsiteY6" fmla="*/ 136525 h 2203450"/>
              <a:gd name="connsiteX7" fmla="*/ 133650 w 7128000"/>
              <a:gd name="connsiteY7" fmla="*/ 0 h 220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8000" h="2203450">
                <a:moveTo>
                  <a:pt x="133650" y="0"/>
                </a:moveTo>
                <a:cubicBezTo>
                  <a:pt x="133650" y="0"/>
                  <a:pt x="133650" y="0"/>
                  <a:pt x="6991168" y="0"/>
                </a:cubicBezTo>
                <a:cubicBezTo>
                  <a:pt x="7128000" y="0"/>
                  <a:pt x="7128000" y="136525"/>
                  <a:pt x="7128000" y="136525"/>
                </a:cubicBezTo>
                <a:cubicBezTo>
                  <a:pt x="7128000" y="136525"/>
                  <a:pt x="7128000" y="136525"/>
                  <a:pt x="7128000" y="2066925"/>
                </a:cubicBezTo>
                <a:cubicBezTo>
                  <a:pt x="7128000" y="2203450"/>
                  <a:pt x="6991168" y="2203450"/>
                  <a:pt x="6991168" y="2203450"/>
                </a:cubicBezTo>
                <a:lnTo>
                  <a:pt x="0" y="2203450"/>
                </a:lnTo>
                <a:cubicBezTo>
                  <a:pt x="0" y="2203450"/>
                  <a:pt x="0" y="2203450"/>
                  <a:pt x="0" y="136525"/>
                </a:cubicBezTo>
                <a:cubicBezTo>
                  <a:pt x="0" y="0"/>
                  <a:pt x="133650" y="0"/>
                  <a:pt x="133650" y="0"/>
                </a:cubicBezTo>
                <a:close/>
              </a:path>
            </a:pathLst>
          </a:custGeom>
          <a:solidFill>
            <a:srgbClr val="FFFFFF">
              <a:alpha val="90000"/>
            </a:srgbClr>
          </a:solidFill>
        </p:spPr>
        <p:txBody>
          <a:bodyPr wrap="square" lIns="252000" tIns="252000" rIns="252000" bIns="252000" anchor="t" anchorCtr="0">
            <a:noAutofit/>
          </a:bodyPr>
          <a:lstStyle>
            <a:lvl1pPr>
              <a:defRPr sz="3500">
                <a:solidFill>
                  <a:srgbClr val="ED8C00"/>
                </a:solidFill>
              </a:defRPr>
            </a:lvl1pPr>
          </a:lstStyle>
          <a:p>
            <a:r>
              <a:rPr lang="nl-NL"/>
              <a:t>Klik om een titel te maken </a:t>
            </a:r>
          </a:p>
        </p:txBody>
      </p:sp>
      <p:sp>
        <p:nvSpPr>
          <p:cNvPr id="2" name="Footer Placeholder 1"/>
          <p:cNvSpPr>
            <a:spLocks noGrp="1"/>
          </p:cNvSpPr>
          <p:nvPr>
            <p:ph type="ftr" sz="quarter" idx="14"/>
          </p:nvPr>
        </p:nvSpPr>
        <p:spPr/>
        <p:txBody>
          <a:bodyPr/>
          <a:lstStyle/>
          <a:p>
            <a:r>
              <a:rPr lang="nl-NL"/>
              <a:t>PostNL voettekst</a:t>
            </a:r>
          </a:p>
        </p:txBody>
      </p:sp>
      <p:sp>
        <p:nvSpPr>
          <p:cNvPr id="3" name="Slide Number Placeholder 2"/>
          <p:cNvSpPr>
            <a:spLocks noGrp="1"/>
          </p:cNvSpPr>
          <p:nvPr>
            <p:ph type="sldNum" sz="quarter" idx="15"/>
          </p:nvPr>
        </p:nvSpPr>
        <p:spPr/>
        <p:txBody>
          <a:bodyPr/>
          <a:lstStyle/>
          <a:p>
            <a:fld id="{A1BC669C-0B8C-4F49-8D0F-E81255670A63}" type="slidenum">
              <a:rPr lang="nl-NL" smtClean="0"/>
              <a:pPr/>
              <a:t>‹nr.›</a:t>
            </a:fld>
            <a:endParaRPr lang="nl-NL"/>
          </a:p>
        </p:txBody>
      </p:sp>
      <p:sp>
        <p:nvSpPr>
          <p:cNvPr id="7" name="Date Placeholder 6"/>
          <p:cNvSpPr>
            <a:spLocks noGrp="1"/>
          </p:cNvSpPr>
          <p:nvPr>
            <p:ph type="dt" sz="half" idx="16"/>
          </p:nvPr>
        </p:nvSpPr>
        <p:spPr/>
        <p:txBody>
          <a:bodyPr/>
          <a:lstStyle/>
          <a:p>
            <a:r>
              <a:rPr lang="nl-NL"/>
              <a:t>Den Haag • 00 maand jaar</a:t>
            </a:r>
          </a:p>
        </p:txBody>
      </p:sp>
    </p:spTree>
    <p:extLst>
      <p:ext uri="{BB962C8B-B14F-4D97-AF65-F5344CB8AC3E}">
        <p14:creationId xmlns:p14="http://schemas.microsoft.com/office/powerpoint/2010/main" val="35008470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oofdstuk venster rechtsboven klein">
    <p:bg>
      <p:bgPr>
        <a:solidFill>
          <a:srgbClr val="ADB5C5"/>
        </a:solidFill>
        <a:effectLst/>
      </p:bgPr>
    </p:bg>
    <p:spTree>
      <p:nvGrpSpPr>
        <p:cNvPr id="1" name=""/>
        <p:cNvGrpSpPr/>
        <p:nvPr/>
      </p:nvGrpSpPr>
      <p:grpSpPr>
        <a:xfrm>
          <a:off x="0" y="0"/>
          <a:ext cx="0" cy="0"/>
          <a:chOff x="0" y="0"/>
          <a:chExt cx="0" cy="0"/>
        </a:xfrm>
      </p:grpSpPr>
      <p:sp>
        <p:nvSpPr>
          <p:cNvPr id="17" name="Title 16"/>
          <p:cNvSpPr>
            <a:spLocks noGrp="1"/>
          </p:cNvSpPr>
          <p:nvPr>
            <p:ph type="title" hasCustomPrompt="1"/>
          </p:nvPr>
        </p:nvSpPr>
        <p:spPr bwMode="gray">
          <a:xfrm>
            <a:off x="4410000" y="680400"/>
            <a:ext cx="7128000" cy="995998"/>
          </a:xfrm>
          <a:custGeom>
            <a:avLst/>
            <a:gdLst>
              <a:gd name="connsiteX0" fmla="*/ 133650 w 7128000"/>
              <a:gd name="connsiteY0" fmla="*/ 0 h 995998"/>
              <a:gd name="connsiteX1" fmla="*/ 6991168 w 7128000"/>
              <a:gd name="connsiteY1" fmla="*/ 0 h 995998"/>
              <a:gd name="connsiteX2" fmla="*/ 7128000 w 7128000"/>
              <a:gd name="connsiteY2" fmla="*/ 136525 h 995998"/>
              <a:gd name="connsiteX3" fmla="*/ 7128000 w 7128000"/>
              <a:gd name="connsiteY3" fmla="*/ 289671 h 995998"/>
              <a:gd name="connsiteX4" fmla="*/ 7128000 w 7128000"/>
              <a:gd name="connsiteY4" fmla="*/ 312423 h 995998"/>
              <a:gd name="connsiteX5" fmla="*/ 7128000 w 7128000"/>
              <a:gd name="connsiteY5" fmla="*/ 335350 h 995998"/>
              <a:gd name="connsiteX6" fmla="*/ 7128000 w 7128000"/>
              <a:gd name="connsiteY6" fmla="*/ 365857 h 995998"/>
              <a:gd name="connsiteX7" fmla="*/ 7128000 w 7128000"/>
              <a:gd name="connsiteY7" fmla="*/ 389314 h 995998"/>
              <a:gd name="connsiteX8" fmla="*/ 7128000 w 7128000"/>
              <a:gd name="connsiteY8" fmla="*/ 524855 h 995998"/>
              <a:gd name="connsiteX9" fmla="*/ 7128000 w 7128000"/>
              <a:gd name="connsiteY9" fmla="*/ 600537 h 995998"/>
              <a:gd name="connsiteX10" fmla="*/ 7128000 w 7128000"/>
              <a:gd name="connsiteY10" fmla="*/ 607814 h 995998"/>
              <a:gd name="connsiteX11" fmla="*/ 7128000 w 7128000"/>
              <a:gd name="connsiteY11" fmla="*/ 676275 h 995998"/>
              <a:gd name="connsiteX12" fmla="*/ 7128000 w 7128000"/>
              <a:gd name="connsiteY12" fmla="*/ 859473 h 995998"/>
              <a:gd name="connsiteX13" fmla="*/ 6991168 w 7128000"/>
              <a:gd name="connsiteY13" fmla="*/ 995998 h 995998"/>
              <a:gd name="connsiteX14" fmla="*/ 0 w 7128000"/>
              <a:gd name="connsiteY14" fmla="*/ 995998 h 995998"/>
              <a:gd name="connsiteX15" fmla="*/ 0 w 7128000"/>
              <a:gd name="connsiteY15" fmla="*/ 712646 h 995998"/>
              <a:gd name="connsiteX16" fmla="*/ 0 w 7128000"/>
              <a:gd name="connsiteY16" fmla="*/ 676275 h 995998"/>
              <a:gd name="connsiteX17" fmla="*/ 0 w 7128000"/>
              <a:gd name="connsiteY17" fmla="*/ 665052 h 995998"/>
              <a:gd name="connsiteX18" fmla="*/ 0 w 7128000"/>
              <a:gd name="connsiteY18" fmla="*/ 635741 h 995998"/>
              <a:gd name="connsiteX19" fmla="*/ 0 w 7128000"/>
              <a:gd name="connsiteY19" fmla="*/ 546046 h 995998"/>
              <a:gd name="connsiteX20" fmla="*/ 0 w 7128000"/>
              <a:gd name="connsiteY20" fmla="*/ 442576 h 995998"/>
              <a:gd name="connsiteX21" fmla="*/ 0 w 7128000"/>
              <a:gd name="connsiteY21" fmla="*/ 413774 h 995998"/>
              <a:gd name="connsiteX22" fmla="*/ 0 w 7128000"/>
              <a:gd name="connsiteY22" fmla="*/ 324349 h 995998"/>
              <a:gd name="connsiteX23" fmla="*/ 0 w 7128000"/>
              <a:gd name="connsiteY23" fmla="*/ 312423 h 995998"/>
              <a:gd name="connsiteX24" fmla="*/ 0 w 7128000"/>
              <a:gd name="connsiteY24" fmla="*/ 136525 h 995998"/>
              <a:gd name="connsiteX25" fmla="*/ 133650 w 7128000"/>
              <a:gd name="connsiteY25" fmla="*/ 0 h 99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128000" h="995998">
                <a:moveTo>
                  <a:pt x="133650" y="0"/>
                </a:moveTo>
                <a:cubicBezTo>
                  <a:pt x="133650" y="0"/>
                  <a:pt x="133650" y="0"/>
                  <a:pt x="6991168" y="0"/>
                </a:cubicBezTo>
                <a:cubicBezTo>
                  <a:pt x="7128000" y="0"/>
                  <a:pt x="7128000" y="136525"/>
                  <a:pt x="7128000" y="136525"/>
                </a:cubicBezTo>
                <a:cubicBezTo>
                  <a:pt x="7128000" y="136525"/>
                  <a:pt x="7128000" y="136525"/>
                  <a:pt x="7128000" y="289671"/>
                </a:cubicBezTo>
                <a:lnTo>
                  <a:pt x="7128000" y="312423"/>
                </a:lnTo>
                <a:lnTo>
                  <a:pt x="7128000" y="335350"/>
                </a:lnTo>
                <a:lnTo>
                  <a:pt x="7128000" y="365857"/>
                </a:lnTo>
                <a:lnTo>
                  <a:pt x="7128000" y="389314"/>
                </a:lnTo>
                <a:cubicBezTo>
                  <a:pt x="7128000" y="428204"/>
                  <a:pt x="7128000" y="473078"/>
                  <a:pt x="7128000" y="524855"/>
                </a:cubicBezTo>
                <a:lnTo>
                  <a:pt x="7128000" y="600537"/>
                </a:lnTo>
                <a:lnTo>
                  <a:pt x="7128000" y="607814"/>
                </a:lnTo>
                <a:lnTo>
                  <a:pt x="7128000" y="676275"/>
                </a:lnTo>
                <a:lnTo>
                  <a:pt x="7128000" y="859473"/>
                </a:lnTo>
                <a:cubicBezTo>
                  <a:pt x="7128000" y="995998"/>
                  <a:pt x="6991168" y="995998"/>
                  <a:pt x="6991168" y="995998"/>
                </a:cubicBezTo>
                <a:lnTo>
                  <a:pt x="0" y="995998"/>
                </a:lnTo>
                <a:cubicBezTo>
                  <a:pt x="0" y="995998"/>
                  <a:pt x="0" y="995998"/>
                  <a:pt x="0" y="712646"/>
                </a:cubicBezTo>
                <a:lnTo>
                  <a:pt x="0" y="676275"/>
                </a:lnTo>
                <a:lnTo>
                  <a:pt x="0" y="665052"/>
                </a:lnTo>
                <a:lnTo>
                  <a:pt x="0" y="635741"/>
                </a:lnTo>
                <a:lnTo>
                  <a:pt x="0" y="546046"/>
                </a:lnTo>
                <a:lnTo>
                  <a:pt x="0" y="442576"/>
                </a:lnTo>
                <a:lnTo>
                  <a:pt x="0" y="413774"/>
                </a:lnTo>
                <a:lnTo>
                  <a:pt x="0" y="324349"/>
                </a:lnTo>
                <a:lnTo>
                  <a:pt x="0" y="312423"/>
                </a:lnTo>
                <a:lnTo>
                  <a:pt x="0" y="136525"/>
                </a:lnTo>
                <a:cubicBezTo>
                  <a:pt x="0" y="0"/>
                  <a:pt x="133650" y="0"/>
                  <a:pt x="133650" y="0"/>
                </a:cubicBezTo>
                <a:close/>
              </a:path>
            </a:pathLst>
          </a:custGeom>
          <a:solidFill>
            <a:srgbClr val="FFFFFF">
              <a:alpha val="90000"/>
            </a:srgbClr>
          </a:solidFill>
        </p:spPr>
        <p:txBody>
          <a:bodyPr wrap="square" lIns="252000" tIns="252000" rIns="252000" bIns="252000" anchor="t" anchorCtr="0">
            <a:noAutofit/>
          </a:bodyPr>
          <a:lstStyle>
            <a:lvl1pPr>
              <a:defRPr sz="3500">
                <a:solidFill>
                  <a:srgbClr val="ED8C00"/>
                </a:solidFill>
              </a:defRPr>
            </a:lvl1pPr>
          </a:lstStyle>
          <a:p>
            <a:r>
              <a:rPr lang="nl-NL"/>
              <a:t>Klik om een titel te maken </a:t>
            </a:r>
          </a:p>
        </p:txBody>
      </p:sp>
      <p:sp>
        <p:nvSpPr>
          <p:cNvPr id="2" name="Footer Placeholder 1"/>
          <p:cNvSpPr>
            <a:spLocks noGrp="1"/>
          </p:cNvSpPr>
          <p:nvPr>
            <p:ph type="ftr" sz="quarter" idx="14"/>
          </p:nvPr>
        </p:nvSpPr>
        <p:spPr/>
        <p:txBody>
          <a:bodyPr/>
          <a:lstStyle/>
          <a:p>
            <a:r>
              <a:rPr lang="nl-NL"/>
              <a:t>PostNL voettekst</a:t>
            </a:r>
          </a:p>
        </p:txBody>
      </p:sp>
      <p:sp>
        <p:nvSpPr>
          <p:cNvPr id="3" name="Slide Number Placeholder 2"/>
          <p:cNvSpPr>
            <a:spLocks noGrp="1"/>
          </p:cNvSpPr>
          <p:nvPr>
            <p:ph type="sldNum" sz="quarter" idx="15"/>
          </p:nvPr>
        </p:nvSpPr>
        <p:spPr/>
        <p:txBody>
          <a:bodyPr/>
          <a:lstStyle/>
          <a:p>
            <a:fld id="{A1BC669C-0B8C-4F49-8D0F-E81255670A63}" type="slidenum">
              <a:rPr lang="nl-NL" smtClean="0"/>
              <a:pPr/>
              <a:t>‹nr.›</a:t>
            </a:fld>
            <a:endParaRPr lang="nl-NL"/>
          </a:p>
        </p:txBody>
      </p:sp>
      <p:sp>
        <p:nvSpPr>
          <p:cNvPr id="7" name="Date Placeholder 6"/>
          <p:cNvSpPr>
            <a:spLocks noGrp="1"/>
          </p:cNvSpPr>
          <p:nvPr>
            <p:ph type="dt" sz="half" idx="16"/>
          </p:nvPr>
        </p:nvSpPr>
        <p:spPr/>
        <p:txBody>
          <a:bodyPr/>
          <a:lstStyle/>
          <a:p>
            <a:r>
              <a:rPr lang="nl-NL"/>
              <a:t>Den Haag • 00 maand jaar</a:t>
            </a:r>
          </a:p>
        </p:txBody>
      </p:sp>
    </p:spTree>
    <p:extLst>
      <p:ext uri="{BB962C8B-B14F-4D97-AF65-F5344CB8AC3E}">
        <p14:creationId xmlns:p14="http://schemas.microsoft.com/office/powerpoint/2010/main" val="39881983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oofdstuk venster linksboven groot">
    <p:bg>
      <p:bgPr>
        <a:solidFill>
          <a:srgbClr val="ADB5C5"/>
        </a:solidFill>
        <a:effectLst/>
      </p:bgPr>
    </p:bg>
    <p:spTree>
      <p:nvGrpSpPr>
        <p:cNvPr id="1" name=""/>
        <p:cNvGrpSpPr/>
        <p:nvPr/>
      </p:nvGrpSpPr>
      <p:grpSpPr>
        <a:xfrm>
          <a:off x="0" y="0"/>
          <a:ext cx="0" cy="0"/>
          <a:chOff x="0" y="0"/>
          <a:chExt cx="0" cy="0"/>
        </a:xfrm>
      </p:grpSpPr>
      <p:sp>
        <p:nvSpPr>
          <p:cNvPr id="67" name="Title 66"/>
          <p:cNvSpPr>
            <a:spLocks noGrp="1"/>
          </p:cNvSpPr>
          <p:nvPr>
            <p:ph type="title" hasCustomPrompt="1"/>
          </p:nvPr>
        </p:nvSpPr>
        <p:spPr bwMode="gray">
          <a:xfrm flipH="1">
            <a:off x="676053" y="680400"/>
            <a:ext cx="7128000" cy="2203450"/>
          </a:xfrm>
          <a:custGeom>
            <a:avLst/>
            <a:gdLst>
              <a:gd name="connsiteX0" fmla="*/ 133650 w 7128000"/>
              <a:gd name="connsiteY0" fmla="*/ 0 h 2203450"/>
              <a:gd name="connsiteX1" fmla="*/ 6991168 w 7128000"/>
              <a:gd name="connsiteY1" fmla="*/ 0 h 2203450"/>
              <a:gd name="connsiteX2" fmla="*/ 7128000 w 7128000"/>
              <a:gd name="connsiteY2" fmla="*/ 136525 h 2203450"/>
              <a:gd name="connsiteX3" fmla="*/ 7128000 w 7128000"/>
              <a:gd name="connsiteY3" fmla="*/ 2066925 h 2203450"/>
              <a:gd name="connsiteX4" fmla="*/ 6991168 w 7128000"/>
              <a:gd name="connsiteY4" fmla="*/ 2203450 h 2203450"/>
              <a:gd name="connsiteX5" fmla="*/ 0 w 7128000"/>
              <a:gd name="connsiteY5" fmla="*/ 2203450 h 2203450"/>
              <a:gd name="connsiteX6" fmla="*/ 0 w 7128000"/>
              <a:gd name="connsiteY6" fmla="*/ 136525 h 2203450"/>
              <a:gd name="connsiteX7" fmla="*/ 133650 w 7128000"/>
              <a:gd name="connsiteY7" fmla="*/ 0 h 220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8000" h="2203450">
                <a:moveTo>
                  <a:pt x="133650" y="0"/>
                </a:moveTo>
                <a:cubicBezTo>
                  <a:pt x="133650" y="0"/>
                  <a:pt x="133650" y="0"/>
                  <a:pt x="6991168" y="0"/>
                </a:cubicBezTo>
                <a:cubicBezTo>
                  <a:pt x="7128000" y="0"/>
                  <a:pt x="7128000" y="136525"/>
                  <a:pt x="7128000" y="136525"/>
                </a:cubicBezTo>
                <a:cubicBezTo>
                  <a:pt x="7128000" y="136525"/>
                  <a:pt x="7128000" y="136525"/>
                  <a:pt x="7128000" y="2066925"/>
                </a:cubicBezTo>
                <a:cubicBezTo>
                  <a:pt x="7128000" y="2203450"/>
                  <a:pt x="6991168" y="2203450"/>
                  <a:pt x="6991168" y="2203450"/>
                </a:cubicBezTo>
                <a:lnTo>
                  <a:pt x="0" y="2203450"/>
                </a:lnTo>
                <a:cubicBezTo>
                  <a:pt x="0" y="2203450"/>
                  <a:pt x="0" y="2203450"/>
                  <a:pt x="0" y="136525"/>
                </a:cubicBezTo>
                <a:cubicBezTo>
                  <a:pt x="0" y="0"/>
                  <a:pt x="133650" y="0"/>
                  <a:pt x="133650" y="0"/>
                </a:cubicBezTo>
                <a:close/>
              </a:path>
            </a:pathLst>
          </a:custGeom>
          <a:solidFill>
            <a:srgbClr val="FFFFFF">
              <a:alpha val="90000"/>
            </a:srgbClr>
          </a:solidFill>
        </p:spPr>
        <p:txBody>
          <a:bodyPr wrap="square" lIns="252000" tIns="252000" rIns="252000" bIns="252000" anchor="t" anchorCtr="0">
            <a:noAutofit/>
          </a:bodyPr>
          <a:lstStyle>
            <a:lvl1pPr>
              <a:defRPr sz="3500">
                <a:solidFill>
                  <a:srgbClr val="ED8C00"/>
                </a:solidFill>
              </a:defRPr>
            </a:lvl1pPr>
          </a:lstStyle>
          <a:p>
            <a:r>
              <a:rPr lang="nl-NL"/>
              <a:t>Klik om een titel te maken </a:t>
            </a:r>
          </a:p>
        </p:txBody>
      </p:sp>
      <p:sp>
        <p:nvSpPr>
          <p:cNvPr id="2" name="Footer Placeholder 1"/>
          <p:cNvSpPr>
            <a:spLocks noGrp="1"/>
          </p:cNvSpPr>
          <p:nvPr>
            <p:ph type="ftr" sz="quarter" idx="14"/>
          </p:nvPr>
        </p:nvSpPr>
        <p:spPr/>
        <p:txBody>
          <a:bodyPr/>
          <a:lstStyle/>
          <a:p>
            <a:r>
              <a:rPr lang="nl-NL"/>
              <a:t>PostNL voettekst</a:t>
            </a:r>
          </a:p>
        </p:txBody>
      </p:sp>
      <p:sp>
        <p:nvSpPr>
          <p:cNvPr id="3" name="Slide Number Placeholder 2"/>
          <p:cNvSpPr>
            <a:spLocks noGrp="1"/>
          </p:cNvSpPr>
          <p:nvPr>
            <p:ph type="sldNum" sz="quarter" idx="15"/>
          </p:nvPr>
        </p:nvSpPr>
        <p:spPr/>
        <p:txBody>
          <a:bodyPr/>
          <a:lstStyle/>
          <a:p>
            <a:fld id="{A1BC669C-0B8C-4F49-8D0F-E81255670A63}" type="slidenum">
              <a:rPr lang="nl-NL" smtClean="0"/>
              <a:pPr/>
              <a:t>‹nr.›</a:t>
            </a:fld>
            <a:endParaRPr lang="nl-NL"/>
          </a:p>
        </p:txBody>
      </p:sp>
      <p:sp>
        <p:nvSpPr>
          <p:cNvPr id="7" name="Date Placeholder 6"/>
          <p:cNvSpPr>
            <a:spLocks noGrp="1"/>
          </p:cNvSpPr>
          <p:nvPr>
            <p:ph type="dt" sz="half" idx="16"/>
          </p:nvPr>
        </p:nvSpPr>
        <p:spPr/>
        <p:txBody>
          <a:bodyPr/>
          <a:lstStyle/>
          <a:p>
            <a:r>
              <a:rPr lang="nl-NL"/>
              <a:t>Den Haag • 00 maand jaar</a:t>
            </a:r>
          </a:p>
        </p:txBody>
      </p:sp>
    </p:spTree>
    <p:extLst>
      <p:ext uri="{BB962C8B-B14F-4D97-AF65-F5344CB8AC3E}">
        <p14:creationId xmlns:p14="http://schemas.microsoft.com/office/powerpoint/2010/main" val="7868463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oofdstuk venster linksboven klein">
    <p:bg>
      <p:bgPr>
        <a:solidFill>
          <a:srgbClr val="ADB5C5"/>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flipH="1">
            <a:off x="676053" y="680400"/>
            <a:ext cx="7128000" cy="995998"/>
          </a:xfrm>
          <a:custGeom>
            <a:avLst/>
            <a:gdLst>
              <a:gd name="connsiteX0" fmla="*/ 6991168 w 7128000"/>
              <a:gd name="connsiteY0" fmla="*/ 0 h 995998"/>
              <a:gd name="connsiteX1" fmla="*/ 133650 w 7128000"/>
              <a:gd name="connsiteY1" fmla="*/ 0 h 995998"/>
              <a:gd name="connsiteX2" fmla="*/ 0 w 7128000"/>
              <a:gd name="connsiteY2" fmla="*/ 136525 h 995998"/>
              <a:gd name="connsiteX3" fmla="*/ 0 w 7128000"/>
              <a:gd name="connsiteY3" fmla="*/ 312423 h 995998"/>
              <a:gd name="connsiteX4" fmla="*/ 0 w 7128000"/>
              <a:gd name="connsiteY4" fmla="*/ 324349 h 995998"/>
              <a:gd name="connsiteX5" fmla="*/ 0 w 7128000"/>
              <a:gd name="connsiteY5" fmla="*/ 413774 h 995998"/>
              <a:gd name="connsiteX6" fmla="*/ 0 w 7128000"/>
              <a:gd name="connsiteY6" fmla="*/ 442576 h 995998"/>
              <a:gd name="connsiteX7" fmla="*/ 0 w 7128000"/>
              <a:gd name="connsiteY7" fmla="*/ 546046 h 995998"/>
              <a:gd name="connsiteX8" fmla="*/ 0 w 7128000"/>
              <a:gd name="connsiteY8" fmla="*/ 635741 h 995998"/>
              <a:gd name="connsiteX9" fmla="*/ 0 w 7128000"/>
              <a:gd name="connsiteY9" fmla="*/ 665052 h 995998"/>
              <a:gd name="connsiteX10" fmla="*/ 0 w 7128000"/>
              <a:gd name="connsiteY10" fmla="*/ 676275 h 995998"/>
              <a:gd name="connsiteX11" fmla="*/ 0 w 7128000"/>
              <a:gd name="connsiteY11" fmla="*/ 712646 h 995998"/>
              <a:gd name="connsiteX12" fmla="*/ 0 w 7128000"/>
              <a:gd name="connsiteY12" fmla="*/ 995998 h 995998"/>
              <a:gd name="connsiteX13" fmla="*/ 6991168 w 7128000"/>
              <a:gd name="connsiteY13" fmla="*/ 995998 h 995998"/>
              <a:gd name="connsiteX14" fmla="*/ 7128000 w 7128000"/>
              <a:gd name="connsiteY14" fmla="*/ 859473 h 995998"/>
              <a:gd name="connsiteX15" fmla="*/ 7128000 w 7128000"/>
              <a:gd name="connsiteY15" fmla="*/ 676275 h 995998"/>
              <a:gd name="connsiteX16" fmla="*/ 7128000 w 7128000"/>
              <a:gd name="connsiteY16" fmla="*/ 607814 h 995998"/>
              <a:gd name="connsiteX17" fmla="*/ 7128000 w 7128000"/>
              <a:gd name="connsiteY17" fmla="*/ 600537 h 995998"/>
              <a:gd name="connsiteX18" fmla="*/ 7128000 w 7128000"/>
              <a:gd name="connsiteY18" fmla="*/ 524855 h 995998"/>
              <a:gd name="connsiteX19" fmla="*/ 7128000 w 7128000"/>
              <a:gd name="connsiteY19" fmla="*/ 389314 h 995998"/>
              <a:gd name="connsiteX20" fmla="*/ 7128000 w 7128000"/>
              <a:gd name="connsiteY20" fmla="*/ 365857 h 995998"/>
              <a:gd name="connsiteX21" fmla="*/ 7128000 w 7128000"/>
              <a:gd name="connsiteY21" fmla="*/ 335350 h 995998"/>
              <a:gd name="connsiteX22" fmla="*/ 7128000 w 7128000"/>
              <a:gd name="connsiteY22" fmla="*/ 312423 h 995998"/>
              <a:gd name="connsiteX23" fmla="*/ 7128000 w 7128000"/>
              <a:gd name="connsiteY23" fmla="*/ 289671 h 995998"/>
              <a:gd name="connsiteX24" fmla="*/ 7128000 w 7128000"/>
              <a:gd name="connsiteY24" fmla="*/ 136525 h 995998"/>
              <a:gd name="connsiteX25" fmla="*/ 6991168 w 7128000"/>
              <a:gd name="connsiteY25" fmla="*/ 0 h 99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128000" h="995998">
                <a:moveTo>
                  <a:pt x="6991168" y="0"/>
                </a:moveTo>
                <a:cubicBezTo>
                  <a:pt x="133650" y="0"/>
                  <a:pt x="133650" y="0"/>
                  <a:pt x="133650" y="0"/>
                </a:cubicBezTo>
                <a:cubicBezTo>
                  <a:pt x="133650" y="0"/>
                  <a:pt x="0" y="0"/>
                  <a:pt x="0" y="136525"/>
                </a:cubicBezTo>
                <a:lnTo>
                  <a:pt x="0" y="312423"/>
                </a:lnTo>
                <a:lnTo>
                  <a:pt x="0" y="324349"/>
                </a:lnTo>
                <a:lnTo>
                  <a:pt x="0" y="413774"/>
                </a:lnTo>
                <a:lnTo>
                  <a:pt x="0" y="442576"/>
                </a:lnTo>
                <a:lnTo>
                  <a:pt x="0" y="546046"/>
                </a:lnTo>
                <a:lnTo>
                  <a:pt x="0" y="635741"/>
                </a:lnTo>
                <a:lnTo>
                  <a:pt x="0" y="665052"/>
                </a:lnTo>
                <a:lnTo>
                  <a:pt x="0" y="676275"/>
                </a:lnTo>
                <a:lnTo>
                  <a:pt x="0" y="712646"/>
                </a:lnTo>
                <a:cubicBezTo>
                  <a:pt x="0" y="995998"/>
                  <a:pt x="0" y="995998"/>
                  <a:pt x="0" y="995998"/>
                </a:cubicBezTo>
                <a:lnTo>
                  <a:pt x="6991168" y="995998"/>
                </a:lnTo>
                <a:cubicBezTo>
                  <a:pt x="6991168" y="995998"/>
                  <a:pt x="7128000" y="995998"/>
                  <a:pt x="7128000" y="859473"/>
                </a:cubicBezTo>
                <a:lnTo>
                  <a:pt x="7128000" y="676275"/>
                </a:lnTo>
                <a:lnTo>
                  <a:pt x="7128000" y="607814"/>
                </a:lnTo>
                <a:lnTo>
                  <a:pt x="7128000" y="600537"/>
                </a:lnTo>
                <a:lnTo>
                  <a:pt x="7128000" y="524855"/>
                </a:lnTo>
                <a:cubicBezTo>
                  <a:pt x="7128000" y="473078"/>
                  <a:pt x="7128000" y="428204"/>
                  <a:pt x="7128000" y="389314"/>
                </a:cubicBezTo>
                <a:lnTo>
                  <a:pt x="7128000" y="365857"/>
                </a:lnTo>
                <a:lnTo>
                  <a:pt x="7128000" y="335350"/>
                </a:lnTo>
                <a:lnTo>
                  <a:pt x="7128000" y="312423"/>
                </a:lnTo>
                <a:lnTo>
                  <a:pt x="7128000" y="289671"/>
                </a:lnTo>
                <a:cubicBezTo>
                  <a:pt x="7128000" y="136525"/>
                  <a:pt x="7128000" y="136525"/>
                  <a:pt x="7128000" y="136525"/>
                </a:cubicBezTo>
                <a:cubicBezTo>
                  <a:pt x="7128000" y="136525"/>
                  <a:pt x="7128000" y="0"/>
                  <a:pt x="6991168" y="0"/>
                </a:cubicBezTo>
                <a:close/>
              </a:path>
            </a:pathLst>
          </a:custGeom>
          <a:solidFill>
            <a:srgbClr val="FFFFFF">
              <a:alpha val="90000"/>
            </a:srgbClr>
          </a:solidFill>
        </p:spPr>
        <p:txBody>
          <a:bodyPr wrap="square" lIns="252000" tIns="252000" rIns="252000" bIns="252000" anchor="t" anchorCtr="0">
            <a:noAutofit/>
          </a:bodyPr>
          <a:lstStyle>
            <a:lvl1pPr>
              <a:defRPr sz="3500">
                <a:solidFill>
                  <a:srgbClr val="ED8C00"/>
                </a:solidFill>
              </a:defRPr>
            </a:lvl1pPr>
          </a:lstStyle>
          <a:p>
            <a:r>
              <a:rPr lang="nl-NL"/>
              <a:t>Klik om een titel te maken </a:t>
            </a:r>
          </a:p>
        </p:txBody>
      </p:sp>
      <p:sp>
        <p:nvSpPr>
          <p:cNvPr id="2" name="Footer Placeholder 1"/>
          <p:cNvSpPr>
            <a:spLocks noGrp="1"/>
          </p:cNvSpPr>
          <p:nvPr>
            <p:ph type="ftr" sz="quarter" idx="14"/>
          </p:nvPr>
        </p:nvSpPr>
        <p:spPr/>
        <p:txBody>
          <a:bodyPr/>
          <a:lstStyle/>
          <a:p>
            <a:r>
              <a:rPr lang="nl-NL"/>
              <a:t>PostNL voettekst</a:t>
            </a:r>
          </a:p>
        </p:txBody>
      </p:sp>
      <p:sp>
        <p:nvSpPr>
          <p:cNvPr id="3" name="Slide Number Placeholder 2"/>
          <p:cNvSpPr>
            <a:spLocks noGrp="1"/>
          </p:cNvSpPr>
          <p:nvPr>
            <p:ph type="sldNum" sz="quarter" idx="15"/>
          </p:nvPr>
        </p:nvSpPr>
        <p:spPr/>
        <p:txBody>
          <a:bodyPr/>
          <a:lstStyle/>
          <a:p>
            <a:fld id="{A1BC669C-0B8C-4F49-8D0F-E81255670A63}" type="slidenum">
              <a:rPr lang="nl-NL" smtClean="0"/>
              <a:pPr/>
              <a:t>‹nr.›</a:t>
            </a:fld>
            <a:endParaRPr lang="nl-NL"/>
          </a:p>
        </p:txBody>
      </p:sp>
      <p:sp>
        <p:nvSpPr>
          <p:cNvPr id="7" name="Date Placeholder 6"/>
          <p:cNvSpPr>
            <a:spLocks noGrp="1"/>
          </p:cNvSpPr>
          <p:nvPr>
            <p:ph type="dt" sz="half" idx="16"/>
          </p:nvPr>
        </p:nvSpPr>
        <p:spPr/>
        <p:txBody>
          <a:bodyPr/>
          <a:lstStyle/>
          <a:p>
            <a:r>
              <a:rPr lang="nl-NL"/>
              <a:t>Den Haag • 00 maand jaar</a:t>
            </a:r>
          </a:p>
        </p:txBody>
      </p:sp>
    </p:spTree>
    <p:extLst>
      <p:ext uri="{BB962C8B-B14F-4D97-AF65-F5344CB8AC3E}">
        <p14:creationId xmlns:p14="http://schemas.microsoft.com/office/powerpoint/2010/main" val="19351666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oofdstuk venster linksonder groot">
    <p:bg>
      <p:bgPr>
        <a:solidFill>
          <a:srgbClr val="ADB5C5"/>
        </a:solidFill>
        <a:effectLst/>
      </p:bgPr>
    </p:bg>
    <p:spTree>
      <p:nvGrpSpPr>
        <p:cNvPr id="1" name=""/>
        <p:cNvGrpSpPr/>
        <p:nvPr/>
      </p:nvGrpSpPr>
      <p:grpSpPr>
        <a:xfrm>
          <a:off x="0" y="0"/>
          <a:ext cx="0" cy="0"/>
          <a:chOff x="0" y="0"/>
          <a:chExt cx="0" cy="0"/>
        </a:xfrm>
      </p:grpSpPr>
      <p:sp>
        <p:nvSpPr>
          <p:cNvPr id="13" name="Title 12"/>
          <p:cNvSpPr>
            <a:spLocks noGrp="1"/>
          </p:cNvSpPr>
          <p:nvPr>
            <p:ph type="title" hasCustomPrompt="1"/>
          </p:nvPr>
        </p:nvSpPr>
        <p:spPr bwMode="gray">
          <a:xfrm flipH="1">
            <a:off x="676053" y="3623189"/>
            <a:ext cx="7128000" cy="2203450"/>
          </a:xfrm>
          <a:custGeom>
            <a:avLst/>
            <a:gdLst>
              <a:gd name="connsiteX0" fmla="*/ 6991168 w 7128000"/>
              <a:gd name="connsiteY0" fmla="*/ 0 h 2203450"/>
              <a:gd name="connsiteX1" fmla="*/ 133650 w 7128000"/>
              <a:gd name="connsiteY1" fmla="*/ 0 h 2203450"/>
              <a:gd name="connsiteX2" fmla="*/ 0 w 7128000"/>
              <a:gd name="connsiteY2" fmla="*/ 136525 h 2203450"/>
              <a:gd name="connsiteX3" fmla="*/ 0 w 7128000"/>
              <a:gd name="connsiteY3" fmla="*/ 2203450 h 2203450"/>
              <a:gd name="connsiteX4" fmla="*/ 6991168 w 7128000"/>
              <a:gd name="connsiteY4" fmla="*/ 2203450 h 2203450"/>
              <a:gd name="connsiteX5" fmla="*/ 7128000 w 7128000"/>
              <a:gd name="connsiteY5" fmla="*/ 2066925 h 2203450"/>
              <a:gd name="connsiteX6" fmla="*/ 7128000 w 7128000"/>
              <a:gd name="connsiteY6" fmla="*/ 136525 h 2203450"/>
              <a:gd name="connsiteX7" fmla="*/ 6991168 w 7128000"/>
              <a:gd name="connsiteY7" fmla="*/ 0 h 220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8000" h="2203450">
                <a:moveTo>
                  <a:pt x="6991168" y="0"/>
                </a:moveTo>
                <a:cubicBezTo>
                  <a:pt x="133650" y="0"/>
                  <a:pt x="133650" y="0"/>
                  <a:pt x="133650" y="0"/>
                </a:cubicBezTo>
                <a:cubicBezTo>
                  <a:pt x="133650" y="0"/>
                  <a:pt x="0" y="0"/>
                  <a:pt x="0" y="136525"/>
                </a:cubicBezTo>
                <a:cubicBezTo>
                  <a:pt x="0" y="2203450"/>
                  <a:pt x="0" y="2203450"/>
                  <a:pt x="0" y="2203450"/>
                </a:cubicBezTo>
                <a:lnTo>
                  <a:pt x="6991168" y="2203450"/>
                </a:lnTo>
                <a:cubicBezTo>
                  <a:pt x="6991168" y="2203450"/>
                  <a:pt x="7128000" y="2203450"/>
                  <a:pt x="7128000" y="2066925"/>
                </a:cubicBezTo>
                <a:cubicBezTo>
                  <a:pt x="7128000" y="136525"/>
                  <a:pt x="7128000" y="136525"/>
                  <a:pt x="7128000" y="136525"/>
                </a:cubicBezTo>
                <a:cubicBezTo>
                  <a:pt x="7128000" y="136525"/>
                  <a:pt x="7128000" y="0"/>
                  <a:pt x="6991168" y="0"/>
                </a:cubicBezTo>
                <a:close/>
              </a:path>
            </a:pathLst>
          </a:custGeom>
          <a:solidFill>
            <a:srgbClr val="FFFFFF">
              <a:alpha val="90000"/>
            </a:srgbClr>
          </a:solidFill>
        </p:spPr>
        <p:txBody>
          <a:bodyPr wrap="square" lIns="252000" tIns="252000" rIns="252000" bIns="252000" anchor="t" anchorCtr="0">
            <a:noAutofit/>
          </a:bodyPr>
          <a:lstStyle>
            <a:lvl1pPr>
              <a:defRPr sz="3500">
                <a:solidFill>
                  <a:srgbClr val="ED8C00"/>
                </a:solidFill>
              </a:defRPr>
            </a:lvl1pPr>
          </a:lstStyle>
          <a:p>
            <a:r>
              <a:rPr lang="nl-NL"/>
              <a:t>Klik om een titel te maken </a:t>
            </a:r>
          </a:p>
        </p:txBody>
      </p:sp>
      <p:sp>
        <p:nvSpPr>
          <p:cNvPr id="2" name="Footer Placeholder 1"/>
          <p:cNvSpPr>
            <a:spLocks noGrp="1"/>
          </p:cNvSpPr>
          <p:nvPr>
            <p:ph type="ftr" sz="quarter" idx="14"/>
          </p:nvPr>
        </p:nvSpPr>
        <p:spPr/>
        <p:txBody>
          <a:bodyPr/>
          <a:lstStyle/>
          <a:p>
            <a:r>
              <a:rPr lang="nl-NL"/>
              <a:t>PostNL voettekst</a:t>
            </a:r>
          </a:p>
        </p:txBody>
      </p:sp>
      <p:sp>
        <p:nvSpPr>
          <p:cNvPr id="3" name="Slide Number Placeholder 2"/>
          <p:cNvSpPr>
            <a:spLocks noGrp="1"/>
          </p:cNvSpPr>
          <p:nvPr>
            <p:ph type="sldNum" sz="quarter" idx="15"/>
          </p:nvPr>
        </p:nvSpPr>
        <p:spPr/>
        <p:txBody>
          <a:bodyPr/>
          <a:lstStyle/>
          <a:p>
            <a:fld id="{A1BC669C-0B8C-4F49-8D0F-E81255670A63}" type="slidenum">
              <a:rPr lang="nl-NL" smtClean="0"/>
              <a:pPr/>
              <a:t>‹nr.›</a:t>
            </a:fld>
            <a:endParaRPr lang="nl-NL"/>
          </a:p>
        </p:txBody>
      </p:sp>
      <p:sp>
        <p:nvSpPr>
          <p:cNvPr id="7" name="Date Placeholder 6"/>
          <p:cNvSpPr>
            <a:spLocks noGrp="1"/>
          </p:cNvSpPr>
          <p:nvPr>
            <p:ph type="dt" sz="half" idx="16"/>
          </p:nvPr>
        </p:nvSpPr>
        <p:spPr/>
        <p:txBody>
          <a:bodyPr/>
          <a:lstStyle/>
          <a:p>
            <a:r>
              <a:rPr lang="nl-NL"/>
              <a:t>Den Haag • 00 maand jaar</a:t>
            </a:r>
          </a:p>
        </p:txBody>
      </p:sp>
    </p:spTree>
    <p:extLst>
      <p:ext uri="{BB962C8B-B14F-4D97-AF65-F5344CB8AC3E}">
        <p14:creationId xmlns:p14="http://schemas.microsoft.com/office/powerpoint/2010/main" val="2581505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oofdstuk venster linksonder klein">
    <p:bg>
      <p:bgPr>
        <a:solidFill>
          <a:srgbClr val="ADB5C5"/>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flipH="1">
            <a:off x="676053" y="3623189"/>
            <a:ext cx="7128000" cy="995998"/>
          </a:xfrm>
          <a:custGeom>
            <a:avLst/>
            <a:gdLst>
              <a:gd name="connsiteX0" fmla="*/ 6991168 w 7128000"/>
              <a:gd name="connsiteY0" fmla="*/ 0 h 995998"/>
              <a:gd name="connsiteX1" fmla="*/ 133650 w 7128000"/>
              <a:gd name="connsiteY1" fmla="*/ 0 h 995998"/>
              <a:gd name="connsiteX2" fmla="*/ 0 w 7128000"/>
              <a:gd name="connsiteY2" fmla="*/ 136525 h 995998"/>
              <a:gd name="connsiteX3" fmla="*/ 0 w 7128000"/>
              <a:gd name="connsiteY3" fmla="*/ 312423 h 995998"/>
              <a:gd name="connsiteX4" fmla="*/ 0 w 7128000"/>
              <a:gd name="connsiteY4" fmla="*/ 324349 h 995998"/>
              <a:gd name="connsiteX5" fmla="*/ 0 w 7128000"/>
              <a:gd name="connsiteY5" fmla="*/ 413774 h 995998"/>
              <a:gd name="connsiteX6" fmla="*/ 0 w 7128000"/>
              <a:gd name="connsiteY6" fmla="*/ 442576 h 995998"/>
              <a:gd name="connsiteX7" fmla="*/ 0 w 7128000"/>
              <a:gd name="connsiteY7" fmla="*/ 546046 h 995998"/>
              <a:gd name="connsiteX8" fmla="*/ 0 w 7128000"/>
              <a:gd name="connsiteY8" fmla="*/ 635741 h 995998"/>
              <a:gd name="connsiteX9" fmla="*/ 0 w 7128000"/>
              <a:gd name="connsiteY9" fmla="*/ 665052 h 995998"/>
              <a:gd name="connsiteX10" fmla="*/ 0 w 7128000"/>
              <a:gd name="connsiteY10" fmla="*/ 676275 h 995998"/>
              <a:gd name="connsiteX11" fmla="*/ 0 w 7128000"/>
              <a:gd name="connsiteY11" fmla="*/ 712646 h 995998"/>
              <a:gd name="connsiteX12" fmla="*/ 0 w 7128000"/>
              <a:gd name="connsiteY12" fmla="*/ 995998 h 995998"/>
              <a:gd name="connsiteX13" fmla="*/ 6991168 w 7128000"/>
              <a:gd name="connsiteY13" fmla="*/ 995998 h 995998"/>
              <a:gd name="connsiteX14" fmla="*/ 7128000 w 7128000"/>
              <a:gd name="connsiteY14" fmla="*/ 859473 h 995998"/>
              <a:gd name="connsiteX15" fmla="*/ 7128000 w 7128000"/>
              <a:gd name="connsiteY15" fmla="*/ 676275 h 995998"/>
              <a:gd name="connsiteX16" fmla="*/ 7128000 w 7128000"/>
              <a:gd name="connsiteY16" fmla="*/ 607814 h 995998"/>
              <a:gd name="connsiteX17" fmla="*/ 7128000 w 7128000"/>
              <a:gd name="connsiteY17" fmla="*/ 600537 h 995998"/>
              <a:gd name="connsiteX18" fmla="*/ 7128000 w 7128000"/>
              <a:gd name="connsiteY18" fmla="*/ 524855 h 995998"/>
              <a:gd name="connsiteX19" fmla="*/ 7128000 w 7128000"/>
              <a:gd name="connsiteY19" fmla="*/ 389314 h 995998"/>
              <a:gd name="connsiteX20" fmla="*/ 7128000 w 7128000"/>
              <a:gd name="connsiteY20" fmla="*/ 365857 h 995998"/>
              <a:gd name="connsiteX21" fmla="*/ 7128000 w 7128000"/>
              <a:gd name="connsiteY21" fmla="*/ 335350 h 995998"/>
              <a:gd name="connsiteX22" fmla="*/ 7128000 w 7128000"/>
              <a:gd name="connsiteY22" fmla="*/ 312423 h 995998"/>
              <a:gd name="connsiteX23" fmla="*/ 7128000 w 7128000"/>
              <a:gd name="connsiteY23" fmla="*/ 289671 h 995998"/>
              <a:gd name="connsiteX24" fmla="*/ 7128000 w 7128000"/>
              <a:gd name="connsiteY24" fmla="*/ 136525 h 995998"/>
              <a:gd name="connsiteX25" fmla="*/ 6991168 w 7128000"/>
              <a:gd name="connsiteY25" fmla="*/ 0 h 99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128000" h="995998">
                <a:moveTo>
                  <a:pt x="6991168" y="0"/>
                </a:moveTo>
                <a:cubicBezTo>
                  <a:pt x="133650" y="0"/>
                  <a:pt x="133650" y="0"/>
                  <a:pt x="133650" y="0"/>
                </a:cubicBezTo>
                <a:cubicBezTo>
                  <a:pt x="133650" y="0"/>
                  <a:pt x="0" y="0"/>
                  <a:pt x="0" y="136525"/>
                </a:cubicBezTo>
                <a:lnTo>
                  <a:pt x="0" y="312423"/>
                </a:lnTo>
                <a:lnTo>
                  <a:pt x="0" y="324349"/>
                </a:lnTo>
                <a:lnTo>
                  <a:pt x="0" y="413774"/>
                </a:lnTo>
                <a:lnTo>
                  <a:pt x="0" y="442576"/>
                </a:lnTo>
                <a:lnTo>
                  <a:pt x="0" y="546046"/>
                </a:lnTo>
                <a:lnTo>
                  <a:pt x="0" y="635741"/>
                </a:lnTo>
                <a:lnTo>
                  <a:pt x="0" y="665052"/>
                </a:lnTo>
                <a:lnTo>
                  <a:pt x="0" y="676275"/>
                </a:lnTo>
                <a:lnTo>
                  <a:pt x="0" y="712646"/>
                </a:lnTo>
                <a:cubicBezTo>
                  <a:pt x="0" y="995998"/>
                  <a:pt x="0" y="995998"/>
                  <a:pt x="0" y="995998"/>
                </a:cubicBezTo>
                <a:lnTo>
                  <a:pt x="6991168" y="995998"/>
                </a:lnTo>
                <a:cubicBezTo>
                  <a:pt x="6991168" y="995998"/>
                  <a:pt x="7128000" y="995998"/>
                  <a:pt x="7128000" y="859473"/>
                </a:cubicBezTo>
                <a:lnTo>
                  <a:pt x="7128000" y="676275"/>
                </a:lnTo>
                <a:lnTo>
                  <a:pt x="7128000" y="607814"/>
                </a:lnTo>
                <a:lnTo>
                  <a:pt x="7128000" y="600537"/>
                </a:lnTo>
                <a:lnTo>
                  <a:pt x="7128000" y="524855"/>
                </a:lnTo>
                <a:cubicBezTo>
                  <a:pt x="7128000" y="473078"/>
                  <a:pt x="7128000" y="428204"/>
                  <a:pt x="7128000" y="389314"/>
                </a:cubicBezTo>
                <a:lnTo>
                  <a:pt x="7128000" y="365857"/>
                </a:lnTo>
                <a:lnTo>
                  <a:pt x="7128000" y="335350"/>
                </a:lnTo>
                <a:lnTo>
                  <a:pt x="7128000" y="312423"/>
                </a:lnTo>
                <a:lnTo>
                  <a:pt x="7128000" y="289671"/>
                </a:lnTo>
                <a:cubicBezTo>
                  <a:pt x="7128000" y="136525"/>
                  <a:pt x="7128000" y="136525"/>
                  <a:pt x="7128000" y="136525"/>
                </a:cubicBezTo>
                <a:cubicBezTo>
                  <a:pt x="7128000" y="136525"/>
                  <a:pt x="7128000" y="0"/>
                  <a:pt x="6991168" y="0"/>
                </a:cubicBezTo>
                <a:close/>
              </a:path>
            </a:pathLst>
          </a:custGeom>
          <a:solidFill>
            <a:srgbClr val="FFFFFF">
              <a:alpha val="90000"/>
            </a:srgbClr>
          </a:solidFill>
        </p:spPr>
        <p:txBody>
          <a:bodyPr wrap="square" lIns="252000" tIns="252000" rIns="252000" bIns="252000" anchor="t" anchorCtr="0">
            <a:noAutofit/>
          </a:bodyPr>
          <a:lstStyle>
            <a:lvl1pPr>
              <a:defRPr sz="3500">
                <a:solidFill>
                  <a:srgbClr val="ED8C00"/>
                </a:solidFill>
              </a:defRPr>
            </a:lvl1pPr>
          </a:lstStyle>
          <a:p>
            <a:r>
              <a:rPr lang="nl-NL"/>
              <a:t>Klik om een titel te maken </a:t>
            </a:r>
          </a:p>
        </p:txBody>
      </p:sp>
      <p:sp>
        <p:nvSpPr>
          <p:cNvPr id="2" name="Footer Placeholder 1"/>
          <p:cNvSpPr>
            <a:spLocks noGrp="1"/>
          </p:cNvSpPr>
          <p:nvPr>
            <p:ph type="ftr" sz="quarter" idx="14"/>
          </p:nvPr>
        </p:nvSpPr>
        <p:spPr/>
        <p:txBody>
          <a:bodyPr/>
          <a:lstStyle/>
          <a:p>
            <a:r>
              <a:rPr lang="nl-NL"/>
              <a:t>PostNL voettekst</a:t>
            </a:r>
          </a:p>
        </p:txBody>
      </p:sp>
      <p:sp>
        <p:nvSpPr>
          <p:cNvPr id="3" name="Slide Number Placeholder 2"/>
          <p:cNvSpPr>
            <a:spLocks noGrp="1"/>
          </p:cNvSpPr>
          <p:nvPr>
            <p:ph type="sldNum" sz="quarter" idx="15"/>
          </p:nvPr>
        </p:nvSpPr>
        <p:spPr/>
        <p:txBody>
          <a:bodyPr/>
          <a:lstStyle/>
          <a:p>
            <a:fld id="{A1BC669C-0B8C-4F49-8D0F-E81255670A63}" type="slidenum">
              <a:rPr lang="nl-NL" smtClean="0"/>
              <a:pPr/>
              <a:t>‹nr.›</a:t>
            </a:fld>
            <a:endParaRPr lang="nl-NL"/>
          </a:p>
        </p:txBody>
      </p:sp>
      <p:sp>
        <p:nvSpPr>
          <p:cNvPr id="7" name="Date Placeholder 6"/>
          <p:cNvSpPr>
            <a:spLocks noGrp="1"/>
          </p:cNvSpPr>
          <p:nvPr>
            <p:ph type="dt" sz="half" idx="16"/>
          </p:nvPr>
        </p:nvSpPr>
        <p:spPr/>
        <p:txBody>
          <a:bodyPr/>
          <a:lstStyle/>
          <a:p>
            <a:r>
              <a:rPr lang="nl-NL"/>
              <a:t>Den Haag • 00 maand jaar</a:t>
            </a:r>
          </a:p>
        </p:txBody>
      </p:sp>
    </p:spTree>
    <p:extLst>
      <p:ext uri="{BB962C8B-B14F-4D97-AF65-F5344CB8AC3E}">
        <p14:creationId xmlns:p14="http://schemas.microsoft.com/office/powerpoint/2010/main" val="25903260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eeld over volledige breedte">
    <p:bg>
      <p:bgPr>
        <a:solidFill>
          <a:srgbClr val="ADB5C5"/>
        </a:solidFill>
        <a:effectLst/>
      </p:bgPr>
    </p:bg>
    <p:spTree>
      <p:nvGrpSpPr>
        <p:cNvPr id="1" name=""/>
        <p:cNvGrpSpPr/>
        <p:nvPr/>
      </p:nvGrpSpPr>
      <p:grpSpPr>
        <a:xfrm>
          <a:off x="0" y="0"/>
          <a:ext cx="0" cy="0"/>
          <a:chOff x="0" y="0"/>
          <a:chExt cx="0" cy="0"/>
        </a:xfrm>
      </p:grpSpPr>
      <p:sp>
        <p:nvSpPr>
          <p:cNvPr id="10" name="Rectangle 9"/>
          <p:cNvSpPr/>
          <p:nvPr userDrawn="1"/>
        </p:nvSpPr>
        <p:spPr>
          <a:xfrm>
            <a:off x="0" y="0"/>
            <a:ext cx="12192000" cy="129902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Footer Placeholder 2"/>
          <p:cNvSpPr>
            <a:spLocks noGrp="1"/>
          </p:cNvSpPr>
          <p:nvPr>
            <p:ph type="ftr" sz="quarter" idx="14"/>
          </p:nvPr>
        </p:nvSpPr>
        <p:spPr/>
        <p:txBody>
          <a:bodyPr/>
          <a:lstStyle/>
          <a:p>
            <a:r>
              <a:rPr lang="nl-NL"/>
              <a:t>PostNL voettekst</a:t>
            </a:r>
          </a:p>
        </p:txBody>
      </p:sp>
      <p:sp>
        <p:nvSpPr>
          <p:cNvPr id="7" name="Slide Number Placeholder 6"/>
          <p:cNvSpPr>
            <a:spLocks noGrp="1"/>
          </p:cNvSpPr>
          <p:nvPr>
            <p:ph type="sldNum" sz="quarter" idx="15"/>
          </p:nvPr>
        </p:nvSpPr>
        <p:spPr/>
        <p:txBody>
          <a:bodyPr/>
          <a:lstStyle/>
          <a:p>
            <a:fld id="{A1BC669C-0B8C-4F49-8D0F-E81255670A63}" type="slidenum">
              <a:rPr lang="nl-NL" smtClean="0"/>
              <a:pPr/>
              <a:t>‹nr.›</a:t>
            </a:fld>
            <a:endParaRPr lang="nl-NL"/>
          </a:p>
        </p:txBody>
      </p:sp>
      <p:sp>
        <p:nvSpPr>
          <p:cNvPr id="8" name="Date Placeholder 7"/>
          <p:cNvSpPr>
            <a:spLocks noGrp="1"/>
          </p:cNvSpPr>
          <p:nvPr>
            <p:ph type="dt" sz="half" idx="16"/>
          </p:nvPr>
        </p:nvSpPr>
        <p:spPr/>
        <p:txBody>
          <a:bodyPr/>
          <a:lstStyle/>
          <a:p>
            <a:r>
              <a:rPr lang="nl-NL"/>
              <a:t>Den Haag • 00 maand jaar</a:t>
            </a:r>
          </a:p>
        </p:txBody>
      </p:sp>
      <p:sp>
        <p:nvSpPr>
          <p:cNvPr id="9" name="Text Placeholder 12"/>
          <p:cNvSpPr>
            <a:spLocks noGrp="1"/>
          </p:cNvSpPr>
          <p:nvPr>
            <p:ph type="body" sz="quarter" idx="13" hasCustomPrompt="1"/>
          </p:nvPr>
        </p:nvSpPr>
        <p:spPr>
          <a:xfrm>
            <a:off x="1020000" y="847724"/>
            <a:ext cx="10152000" cy="442855"/>
          </a:xfrm>
        </p:spPr>
        <p:txBody>
          <a:bodyPr>
            <a:noAutofit/>
          </a:bodyPr>
          <a:lstStyle>
            <a:lvl1pPr>
              <a:defRPr b="1">
                <a:solidFill>
                  <a:srgbClr val="ED8C00"/>
                </a:solidFill>
              </a:defRPr>
            </a:lvl1pPr>
          </a:lstStyle>
          <a:p>
            <a:pPr lvl="0"/>
            <a:r>
              <a:rPr lang="nl-NL" noProof="0"/>
              <a:t>Klik om een subtitle te maken</a:t>
            </a:r>
          </a:p>
        </p:txBody>
      </p:sp>
      <p:sp>
        <p:nvSpPr>
          <p:cNvPr id="5" name="Title 4"/>
          <p:cNvSpPr>
            <a:spLocks noGrp="1"/>
          </p:cNvSpPr>
          <p:nvPr>
            <p:ph type="title" hasCustomPrompt="1"/>
          </p:nvPr>
        </p:nvSpPr>
        <p:spPr/>
        <p:txBody>
          <a:bodyPr/>
          <a:lstStyle>
            <a:lvl1pPr>
              <a:defRPr/>
            </a:lvl1pPr>
          </a:lstStyle>
          <a:p>
            <a:r>
              <a:rPr lang="nl-NL"/>
              <a:t>Klik om een titel te maken </a:t>
            </a:r>
          </a:p>
        </p:txBody>
      </p:sp>
    </p:spTree>
    <p:extLst>
      <p:ext uri="{BB962C8B-B14F-4D97-AF65-F5344CB8AC3E}">
        <p14:creationId xmlns:p14="http://schemas.microsoft.com/office/powerpoint/2010/main" val="38235468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eeld met tekstbox middel">
    <p:bg>
      <p:bgPr>
        <a:solidFill>
          <a:srgbClr val="ADB5C5"/>
        </a:solidFill>
        <a:effectLst/>
      </p:bgPr>
    </p:bg>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bwMode="gray">
          <a:xfrm>
            <a:off x="676053" y="3113089"/>
            <a:ext cx="4824413" cy="2728912"/>
          </a:xfrm>
          <a:custGeom>
            <a:avLst/>
            <a:gdLst>
              <a:gd name="connsiteX0" fmla="*/ 147337 w 4824413"/>
              <a:gd name="connsiteY0" fmla="*/ 0 h 2728912"/>
              <a:gd name="connsiteX1" fmla="*/ 4677077 w 4824413"/>
              <a:gd name="connsiteY1" fmla="*/ 0 h 2728912"/>
              <a:gd name="connsiteX2" fmla="*/ 4824413 w 4824413"/>
              <a:gd name="connsiteY2" fmla="*/ 147602 h 2728912"/>
              <a:gd name="connsiteX3" fmla="*/ 4824413 w 4824413"/>
              <a:gd name="connsiteY3" fmla="*/ 2728912 h 2728912"/>
              <a:gd name="connsiteX4" fmla="*/ 147337 w 4824413"/>
              <a:gd name="connsiteY4" fmla="*/ 2728912 h 2728912"/>
              <a:gd name="connsiteX5" fmla="*/ 0 w 4824413"/>
              <a:gd name="connsiteY5" fmla="*/ 2581311 h 2728912"/>
              <a:gd name="connsiteX6" fmla="*/ 0 w 4824413"/>
              <a:gd name="connsiteY6" fmla="*/ 147602 h 2728912"/>
              <a:gd name="connsiteX7" fmla="*/ 147337 w 4824413"/>
              <a:gd name="connsiteY7" fmla="*/ 0 h 272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4413" h="2728912">
                <a:moveTo>
                  <a:pt x="147337" y="0"/>
                </a:moveTo>
                <a:lnTo>
                  <a:pt x="4677077" y="0"/>
                </a:lnTo>
                <a:cubicBezTo>
                  <a:pt x="4824413" y="0"/>
                  <a:pt x="4824413" y="147602"/>
                  <a:pt x="4824413" y="147602"/>
                </a:cubicBezTo>
                <a:cubicBezTo>
                  <a:pt x="4824413" y="147602"/>
                  <a:pt x="4824413" y="147602"/>
                  <a:pt x="4824413" y="2728912"/>
                </a:cubicBezTo>
                <a:cubicBezTo>
                  <a:pt x="4824413" y="2728912"/>
                  <a:pt x="4824413" y="2728912"/>
                  <a:pt x="147337" y="2728912"/>
                </a:cubicBezTo>
                <a:cubicBezTo>
                  <a:pt x="0" y="2728912"/>
                  <a:pt x="0" y="2581311"/>
                  <a:pt x="0" y="2581311"/>
                </a:cubicBezTo>
                <a:cubicBezTo>
                  <a:pt x="0" y="2581311"/>
                  <a:pt x="0" y="2581311"/>
                  <a:pt x="0" y="147602"/>
                </a:cubicBezTo>
                <a:cubicBezTo>
                  <a:pt x="0" y="0"/>
                  <a:pt x="147337" y="0"/>
                  <a:pt x="147337" y="0"/>
                </a:cubicBezTo>
                <a:close/>
              </a:path>
            </a:pathLst>
          </a:custGeom>
          <a:solidFill>
            <a:srgbClr val="FFFFFF">
              <a:alpha val="90000"/>
            </a:srgbClr>
          </a:solidFill>
        </p:spPr>
        <p:txBody>
          <a:bodyPr wrap="square" lIns="324000" tIns="324000" rIns="324000" bIns="324000">
            <a:noAutofit/>
          </a:bodyPr>
          <a:lstStyle>
            <a:lvl1pPr>
              <a:lnSpc>
                <a:spcPct val="90000"/>
              </a:lnSpc>
              <a:spcAft>
                <a:spcPts val="1200"/>
              </a:spcAft>
              <a:defRPr sz="3500">
                <a:solidFill>
                  <a:srgbClr val="ED8C00"/>
                </a:solidFill>
              </a:defRPr>
            </a:lvl1pPr>
            <a:lvl2pPr marL="0" indent="0">
              <a:lnSpc>
                <a:spcPct val="104000"/>
              </a:lnSpc>
              <a:spcBef>
                <a:spcPts val="1200"/>
              </a:spcBef>
              <a:buNone/>
              <a:defRPr sz="2000"/>
            </a:lvl2pPr>
            <a:lvl3pPr marL="250825" indent="-250825">
              <a:lnSpc>
                <a:spcPct val="104000"/>
              </a:lnSpc>
              <a:spcBef>
                <a:spcPts val="0"/>
              </a:spcBef>
              <a:defRPr sz="2000"/>
            </a:lvl3pPr>
            <a:lvl4pPr>
              <a:lnSpc>
                <a:spcPts val="3800"/>
              </a:lnSpc>
              <a:spcBef>
                <a:spcPts val="0"/>
              </a:spcBef>
              <a:defRPr sz="3500"/>
            </a:lvl4pPr>
            <a:lvl5pPr>
              <a:lnSpc>
                <a:spcPts val="3800"/>
              </a:lnSpc>
              <a:spcBef>
                <a:spcPts val="0"/>
              </a:spcBef>
              <a:defRPr sz="3500"/>
            </a:lvl5pPr>
          </a:lstStyle>
          <a:p>
            <a:pPr lvl="0"/>
            <a:r>
              <a:rPr lang="nl-NL"/>
              <a:t>Klik om een kop te maken</a:t>
            </a:r>
          </a:p>
          <a:p>
            <a:pPr lvl="1"/>
            <a:r>
              <a:rPr lang="nl-NL"/>
              <a:t>Tweede niveau</a:t>
            </a:r>
          </a:p>
          <a:p>
            <a:pPr lvl="2"/>
            <a:r>
              <a:rPr lang="nl-NL"/>
              <a:t>Derde niveau</a:t>
            </a:r>
          </a:p>
        </p:txBody>
      </p:sp>
      <p:sp>
        <p:nvSpPr>
          <p:cNvPr id="12" name="Rectangle 11"/>
          <p:cNvSpPr/>
          <p:nvPr userDrawn="1"/>
        </p:nvSpPr>
        <p:spPr>
          <a:xfrm>
            <a:off x="0" y="0"/>
            <a:ext cx="12192000" cy="129902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Footer Placeholder 2"/>
          <p:cNvSpPr>
            <a:spLocks noGrp="1"/>
          </p:cNvSpPr>
          <p:nvPr>
            <p:ph type="ftr" sz="quarter" idx="16"/>
          </p:nvPr>
        </p:nvSpPr>
        <p:spPr/>
        <p:txBody>
          <a:bodyPr/>
          <a:lstStyle/>
          <a:p>
            <a:r>
              <a:rPr lang="nl-NL"/>
              <a:t>PostNL voettekst</a:t>
            </a:r>
          </a:p>
        </p:txBody>
      </p:sp>
      <p:sp>
        <p:nvSpPr>
          <p:cNvPr id="7" name="Slide Number Placeholder 6"/>
          <p:cNvSpPr>
            <a:spLocks noGrp="1"/>
          </p:cNvSpPr>
          <p:nvPr>
            <p:ph type="sldNum" sz="quarter" idx="17"/>
          </p:nvPr>
        </p:nvSpPr>
        <p:spPr/>
        <p:txBody>
          <a:bodyPr/>
          <a:lstStyle/>
          <a:p>
            <a:fld id="{A1BC669C-0B8C-4F49-8D0F-E81255670A63}" type="slidenum">
              <a:rPr lang="nl-NL" smtClean="0"/>
              <a:pPr/>
              <a:t>‹nr.›</a:t>
            </a:fld>
            <a:endParaRPr lang="nl-NL"/>
          </a:p>
        </p:txBody>
      </p:sp>
      <p:sp>
        <p:nvSpPr>
          <p:cNvPr id="8" name="Date Placeholder 7"/>
          <p:cNvSpPr>
            <a:spLocks noGrp="1"/>
          </p:cNvSpPr>
          <p:nvPr>
            <p:ph type="dt" sz="half" idx="18"/>
          </p:nvPr>
        </p:nvSpPr>
        <p:spPr/>
        <p:txBody>
          <a:bodyPr/>
          <a:lstStyle/>
          <a:p>
            <a:r>
              <a:rPr lang="nl-NL"/>
              <a:t>Den Haag • 00 maand jaar</a:t>
            </a:r>
          </a:p>
        </p:txBody>
      </p:sp>
      <p:sp>
        <p:nvSpPr>
          <p:cNvPr id="10" name="Text Placeholder 12"/>
          <p:cNvSpPr>
            <a:spLocks noGrp="1"/>
          </p:cNvSpPr>
          <p:nvPr>
            <p:ph type="body" sz="quarter" idx="13" hasCustomPrompt="1"/>
          </p:nvPr>
        </p:nvSpPr>
        <p:spPr>
          <a:xfrm>
            <a:off x="1020000" y="847724"/>
            <a:ext cx="10152000" cy="442855"/>
          </a:xfrm>
        </p:spPr>
        <p:txBody>
          <a:bodyPr>
            <a:noAutofit/>
          </a:bodyPr>
          <a:lstStyle>
            <a:lvl1pPr>
              <a:defRPr b="1">
                <a:solidFill>
                  <a:srgbClr val="ED8C00"/>
                </a:solidFill>
              </a:defRPr>
            </a:lvl1pPr>
          </a:lstStyle>
          <a:p>
            <a:pPr lvl="0"/>
            <a:r>
              <a:rPr lang="nl-NL" noProof="0"/>
              <a:t>Klik om een subtitle te maken</a:t>
            </a:r>
          </a:p>
        </p:txBody>
      </p:sp>
      <p:sp>
        <p:nvSpPr>
          <p:cNvPr id="4" name="Title 3"/>
          <p:cNvSpPr>
            <a:spLocks noGrp="1"/>
          </p:cNvSpPr>
          <p:nvPr>
            <p:ph type="title" hasCustomPrompt="1"/>
          </p:nvPr>
        </p:nvSpPr>
        <p:spPr/>
        <p:txBody>
          <a:bodyPr/>
          <a:lstStyle>
            <a:lvl1pPr>
              <a:defRPr/>
            </a:lvl1pPr>
          </a:lstStyle>
          <a:p>
            <a:r>
              <a:rPr lang="nl-NL"/>
              <a:t>Klik om een titel te maken </a:t>
            </a:r>
          </a:p>
        </p:txBody>
      </p:sp>
    </p:spTree>
    <p:extLst>
      <p:ext uri="{BB962C8B-B14F-4D97-AF65-F5344CB8AC3E}">
        <p14:creationId xmlns:p14="http://schemas.microsoft.com/office/powerpoint/2010/main" val="98617900"/>
      </p:ext>
    </p:extLst>
  </p:cSld>
  <p:clrMapOvr>
    <a:masterClrMapping/>
  </p:clrMapOvr>
  <p:extLst>
    <p:ext uri="{DCECCB84-F9BA-43D5-87BE-67443E8EF086}">
      <p15:sldGuideLst xmlns:p15="http://schemas.microsoft.com/office/powerpoint/2012/main">
        <p15:guide id="1" orient="horz" pos="164">
          <p15:clr>
            <a:srgbClr val="FBAE40"/>
          </p15:clr>
        </p15:guide>
        <p15:guide id="2" orient="horz" pos="82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ekst">
    <p:spTree>
      <p:nvGrpSpPr>
        <p:cNvPr id="1" name=""/>
        <p:cNvGrpSpPr/>
        <p:nvPr/>
      </p:nvGrpSpPr>
      <p:grpSpPr>
        <a:xfrm>
          <a:off x="0" y="0"/>
          <a:ext cx="0" cy="0"/>
          <a:chOff x="0" y="0"/>
          <a:chExt cx="0" cy="0"/>
        </a:xfrm>
      </p:grpSpPr>
      <p:pic>
        <p:nvPicPr>
          <p:cNvPr id="85" name="Picture 85" descr="A black background with a black square&#10;&#10;Description automatically generated with medium confidence">
            <a:extLst>
              <a:ext uri="{FF2B5EF4-FFF2-40B4-BE49-F238E27FC236}">
                <a16:creationId xmlns:a16="http://schemas.microsoft.com/office/drawing/2014/main" id="{135F24BB-A2F5-CCD6-AEBB-66AD50D1E2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3" name="Titel 12">
            <a:extLst>
              <a:ext uri="{FF2B5EF4-FFF2-40B4-BE49-F238E27FC236}">
                <a16:creationId xmlns:a16="http://schemas.microsoft.com/office/drawing/2014/main" id="{E541B53C-EDA7-4445-8B1E-7C9991C20FEA}"/>
              </a:ext>
            </a:extLst>
          </p:cNvPr>
          <p:cNvSpPr>
            <a:spLocks noGrp="1"/>
          </p:cNvSpPr>
          <p:nvPr>
            <p:ph type="title" hasCustomPrompt="1"/>
          </p:nvPr>
        </p:nvSpPr>
        <p:spPr>
          <a:xfrm>
            <a:off x="719999" y="360000"/>
            <a:ext cx="10753200" cy="443275"/>
          </a:xfrm>
        </p:spPr>
        <p:txBody>
          <a:bodyPr/>
          <a:lstStyle>
            <a:lvl1pPr>
              <a:defRPr/>
            </a:lvl1pPr>
          </a:lstStyle>
          <a:p>
            <a:r>
              <a:rPr lang="nl-NL" noProof="0"/>
              <a:t>Plaats hier je titel</a:t>
            </a:r>
            <a:endParaRPr lang="nl-NL"/>
          </a:p>
        </p:txBody>
      </p:sp>
      <p:sp>
        <p:nvSpPr>
          <p:cNvPr id="21" name="Rechthoek 20">
            <a:extLst>
              <a:ext uri="{FF2B5EF4-FFF2-40B4-BE49-F238E27FC236}">
                <a16:creationId xmlns:a16="http://schemas.microsoft.com/office/drawing/2014/main" id="{8778B65F-BF88-4C17-8B7E-1110F69AEE26}"/>
              </a:ext>
            </a:extLst>
          </p:cNvPr>
          <p:cNvSpPr/>
          <p:nvPr userDrawn="1"/>
        </p:nvSpPr>
        <p:spPr>
          <a:xfrm>
            <a:off x="-1" y="-330972"/>
            <a:ext cx="6120000"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F56900"/>
                </a:solidFill>
                <a:effectLst/>
                <a:uLnTx/>
                <a:uFillTx/>
                <a:latin typeface="Arial"/>
                <a:ea typeface="+mn-ea"/>
                <a:cs typeface="+mn-cs"/>
              </a:rPr>
              <a:t>Tekst</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7A850D-575E-4AC5-8667-DD5D4DC1426C}" type="datetime4">
              <a:rPr kumimoji="0" lang="nl-NL" sz="800" b="0" i="0" u="none" strike="noStrike" kern="1200" cap="none" spc="0" normalizeH="0" baseline="0" noProof="0" smtClean="0">
                <a:ln>
                  <a:noFill/>
                </a:ln>
                <a:solidFill>
                  <a:srgbClr val="001A73"/>
                </a:solidFill>
                <a:effectLst/>
                <a:uLnTx/>
                <a:uFillTx/>
                <a:latin typeface="Arial"/>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 februari 2024</a:t>
            </a:fld>
            <a:endParaRPr kumimoji="0" lang="nl-NL" sz="800" b="0" i="0" u="none" strike="noStrike" kern="1200" cap="none" spc="0" normalizeH="0" baseline="0" noProof="0">
              <a:ln>
                <a:noFill/>
              </a:ln>
              <a:solidFill>
                <a:srgbClr val="001A73"/>
              </a:solidFill>
              <a:effectLst/>
              <a:uLnTx/>
              <a:uFillTx/>
              <a:latin typeface="Arial"/>
              <a:ea typeface="+mn-ea"/>
              <a:cs typeface="Segoe UI Light" panose="020B0502040204020203" pitchFamily="34" charset="0"/>
            </a:endParaRPr>
          </a:p>
        </p:txBody>
      </p:sp>
      <p:sp>
        <p:nvSpPr>
          <p:cNvPr id="3" name="Tijdelijke aanduiding voor voettekst 2">
            <a:extLst>
              <a:ext uri="{FF2B5EF4-FFF2-40B4-BE49-F238E27FC236}">
                <a16:creationId xmlns:a16="http://schemas.microsoft.com/office/drawing/2014/main" id="{F867C8C4-846D-4731-B087-4005C798F9AF}"/>
              </a:ext>
            </a:extLst>
          </p:cNvPr>
          <p:cNvSpPr>
            <a:spLocks noGrp="1"/>
          </p:cNvSpPr>
          <p:nvPr>
            <p:ph type="ftr"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BCBCBC"/>
                </a:solidFill>
                <a:effectLst/>
                <a:uLnTx/>
                <a:uFillTx/>
                <a:latin typeface="Arial"/>
                <a:ea typeface="+mn-ea"/>
                <a:cs typeface="Segoe UI Light" panose="020B0502040204020203" pitchFamily="34" charset="0"/>
              </a:rPr>
              <a:t>Template-set PostNL</a:t>
            </a:r>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E843DB9-9987-4157-AB9C-CEA8D7D910BB}" type="slidenum">
              <a:rPr kumimoji="0" lang="nl-NL" sz="1100" b="0" i="0" u="none" strike="noStrike" kern="1200" cap="none" spc="0" normalizeH="0" baseline="0" noProof="0" smtClean="0">
                <a:ln>
                  <a:noFill/>
                </a:ln>
                <a:solidFill>
                  <a:srgbClr val="001A73"/>
                </a:solidFill>
                <a:effectLst/>
                <a:uLnTx/>
                <a:uFillTx/>
                <a:latin typeface="Arial"/>
                <a:ea typeface="+mn-ea"/>
                <a:cs typeface="Segoe UI Light" panose="020B0502040204020203"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r.›</a:t>
            </a:fld>
            <a:endParaRPr kumimoji="0" lang="nl-NL" sz="1100" b="0" i="0" u="none" strike="noStrike" kern="1200" cap="none" spc="0" normalizeH="0" baseline="0" noProof="0">
              <a:ln>
                <a:noFill/>
              </a:ln>
              <a:solidFill>
                <a:srgbClr val="001A73"/>
              </a:solidFill>
              <a:effectLst/>
              <a:uLnTx/>
              <a:uFillTx/>
              <a:latin typeface="Arial"/>
              <a:ea typeface="+mn-ea"/>
              <a:cs typeface="Segoe UI Light" panose="020B0502040204020203" pitchFamily="34" charset="0"/>
            </a:endParaRPr>
          </a:p>
        </p:txBody>
      </p:sp>
      <p:sp>
        <p:nvSpPr>
          <p:cNvPr id="7" name="Tijdelijke aanduiding voor tekst 6">
            <a:extLst>
              <a:ext uri="{FF2B5EF4-FFF2-40B4-BE49-F238E27FC236}">
                <a16:creationId xmlns:a16="http://schemas.microsoft.com/office/drawing/2014/main" id="{97C32B2A-67AA-E6D6-AE57-0F98725B06A3}"/>
              </a:ext>
            </a:extLst>
          </p:cNvPr>
          <p:cNvSpPr>
            <a:spLocks noGrp="1"/>
          </p:cNvSpPr>
          <p:nvPr>
            <p:ph type="body" sz="quarter" idx="21" hasCustomPrompt="1"/>
          </p:nvPr>
        </p:nvSpPr>
        <p:spPr>
          <a:xfrm>
            <a:off x="719139" y="1592263"/>
            <a:ext cx="10752136" cy="4240211"/>
          </a:xfrm>
        </p:spPr>
        <p:txBody>
          <a:body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Kop #1</a:t>
            </a:r>
          </a:p>
          <a:p>
            <a:pPr lvl="5"/>
            <a:r>
              <a:rPr lang="nl-NL" noProof="0"/>
              <a:t>Kop #2</a:t>
            </a:r>
          </a:p>
          <a:p>
            <a:pPr lvl="6"/>
            <a:r>
              <a:rPr lang="nl-NL" noProof="0"/>
              <a:t>Numerieke </a:t>
            </a:r>
            <a:r>
              <a:rPr lang="nl-NL" noProof="0" err="1"/>
              <a:t>bullet</a:t>
            </a:r>
            <a:endParaRPr lang="nl-NL" noProof="0"/>
          </a:p>
          <a:p>
            <a:pPr lvl="7"/>
            <a:r>
              <a:rPr lang="nl-NL" noProof="0"/>
              <a:t>Alfabetische </a:t>
            </a:r>
            <a:r>
              <a:rPr lang="nl-NL" noProof="0" err="1"/>
              <a:t>bullet</a:t>
            </a:r>
            <a:endParaRPr lang="nl-NL" noProof="0"/>
          </a:p>
          <a:p>
            <a:pPr lvl="8"/>
            <a:r>
              <a:rPr lang="nl-NL" noProof="0"/>
              <a:t>Bronvermelding</a:t>
            </a:r>
          </a:p>
        </p:txBody>
      </p:sp>
      <p:sp>
        <p:nvSpPr>
          <p:cNvPr id="8" name="Graphic 19">
            <a:extLst>
              <a:ext uri="{FF2B5EF4-FFF2-40B4-BE49-F238E27FC236}">
                <a16:creationId xmlns:a16="http://schemas.microsoft.com/office/drawing/2014/main" id="{EFE920AC-EE66-649C-0CCB-BAAD01E186B6}"/>
              </a:ext>
            </a:extLst>
          </p:cNvPr>
          <p:cNvSpPr/>
          <p:nvPr userDrawn="1"/>
        </p:nvSpPr>
        <p:spPr>
          <a:xfrm>
            <a:off x="11334187" y="6000751"/>
            <a:ext cx="491101" cy="485194"/>
          </a:xfrm>
          <a:custGeom>
            <a:avLst/>
            <a:gdLst>
              <a:gd name="connsiteX0" fmla="*/ 939165 w 2771775"/>
              <a:gd name="connsiteY0" fmla="*/ 1218248 h 2738437"/>
              <a:gd name="connsiteX1" fmla="*/ 741998 w 2771775"/>
              <a:gd name="connsiteY1" fmla="*/ 1415415 h 2738437"/>
              <a:gd name="connsiteX2" fmla="*/ 939165 w 2771775"/>
              <a:gd name="connsiteY2" fmla="*/ 1612583 h 2738437"/>
              <a:gd name="connsiteX3" fmla="*/ 1135380 w 2771775"/>
              <a:gd name="connsiteY3" fmla="*/ 1416368 h 2738437"/>
              <a:gd name="connsiteX4" fmla="*/ 939165 w 2771775"/>
              <a:gd name="connsiteY4" fmla="*/ 1218248 h 2738437"/>
              <a:gd name="connsiteX5" fmla="*/ 939165 w 2771775"/>
              <a:gd name="connsiteY5" fmla="*/ 1518285 h 2738437"/>
              <a:gd name="connsiteX6" fmla="*/ 854393 w 2771775"/>
              <a:gd name="connsiteY6" fmla="*/ 1415415 h 2738437"/>
              <a:gd name="connsiteX7" fmla="*/ 939165 w 2771775"/>
              <a:gd name="connsiteY7" fmla="*/ 1312545 h 2738437"/>
              <a:gd name="connsiteX8" fmla="*/ 1023938 w 2771775"/>
              <a:gd name="connsiteY8" fmla="*/ 1415415 h 2738437"/>
              <a:gd name="connsiteX9" fmla="*/ 939165 w 2771775"/>
              <a:gd name="connsiteY9" fmla="*/ 1518285 h 2738437"/>
              <a:gd name="connsiteX10" fmla="*/ 1648778 w 2771775"/>
              <a:gd name="connsiteY10" fmla="*/ 1222058 h 2738437"/>
              <a:gd name="connsiteX11" fmla="*/ 1648778 w 2771775"/>
              <a:gd name="connsiteY11" fmla="*/ 1222058 h 2738437"/>
              <a:gd name="connsiteX12" fmla="*/ 1652588 w 2771775"/>
              <a:gd name="connsiteY12" fmla="*/ 1225868 h 2738437"/>
              <a:gd name="connsiteX13" fmla="*/ 1735455 w 2771775"/>
              <a:gd name="connsiteY13" fmla="*/ 1225868 h 2738437"/>
              <a:gd name="connsiteX14" fmla="*/ 1746885 w 2771775"/>
              <a:gd name="connsiteY14" fmla="*/ 1237298 h 2738437"/>
              <a:gd name="connsiteX15" fmla="*/ 1746885 w 2771775"/>
              <a:gd name="connsiteY15" fmla="*/ 1308735 h 2738437"/>
              <a:gd name="connsiteX16" fmla="*/ 1746885 w 2771775"/>
              <a:gd name="connsiteY16" fmla="*/ 1308735 h 2738437"/>
              <a:gd name="connsiteX17" fmla="*/ 1746885 w 2771775"/>
              <a:gd name="connsiteY17" fmla="*/ 1308735 h 2738437"/>
              <a:gd name="connsiteX18" fmla="*/ 1743075 w 2771775"/>
              <a:gd name="connsiteY18" fmla="*/ 1312545 h 2738437"/>
              <a:gd name="connsiteX19" fmla="*/ 1651635 w 2771775"/>
              <a:gd name="connsiteY19" fmla="*/ 1312545 h 2738437"/>
              <a:gd name="connsiteX20" fmla="*/ 1651635 w 2771775"/>
              <a:gd name="connsiteY20" fmla="*/ 1312545 h 2738437"/>
              <a:gd name="connsiteX21" fmla="*/ 1647825 w 2771775"/>
              <a:gd name="connsiteY21" fmla="*/ 1316355 h 2738437"/>
              <a:gd name="connsiteX22" fmla="*/ 1647825 w 2771775"/>
              <a:gd name="connsiteY22" fmla="*/ 1455420 h 2738437"/>
              <a:gd name="connsiteX23" fmla="*/ 1702118 w 2771775"/>
              <a:gd name="connsiteY23" fmla="*/ 1524953 h 2738437"/>
              <a:gd name="connsiteX24" fmla="*/ 1745933 w 2771775"/>
              <a:gd name="connsiteY24" fmla="*/ 1515428 h 2738437"/>
              <a:gd name="connsiteX25" fmla="*/ 1749743 w 2771775"/>
              <a:gd name="connsiteY25" fmla="*/ 1519238 h 2738437"/>
              <a:gd name="connsiteX26" fmla="*/ 1749743 w 2771775"/>
              <a:gd name="connsiteY26" fmla="*/ 1587818 h 2738437"/>
              <a:gd name="connsiteX27" fmla="*/ 1749743 w 2771775"/>
              <a:gd name="connsiteY27" fmla="*/ 1587818 h 2738437"/>
              <a:gd name="connsiteX28" fmla="*/ 1749743 w 2771775"/>
              <a:gd name="connsiteY28" fmla="*/ 1587818 h 2738437"/>
              <a:gd name="connsiteX29" fmla="*/ 1744028 w 2771775"/>
              <a:gd name="connsiteY29" fmla="*/ 1598295 h 2738437"/>
              <a:gd name="connsiteX30" fmla="*/ 1665923 w 2771775"/>
              <a:gd name="connsiteY30" fmla="*/ 1611630 h 2738437"/>
              <a:gd name="connsiteX31" fmla="*/ 1540193 w 2771775"/>
              <a:gd name="connsiteY31" fmla="*/ 1473518 h 2738437"/>
              <a:gd name="connsiteX32" fmla="*/ 1540193 w 2771775"/>
              <a:gd name="connsiteY32" fmla="*/ 1231583 h 2738437"/>
              <a:gd name="connsiteX33" fmla="*/ 1562100 w 2771775"/>
              <a:gd name="connsiteY33" fmla="*/ 1175385 h 2738437"/>
              <a:gd name="connsiteX34" fmla="*/ 1644015 w 2771775"/>
              <a:gd name="connsiteY34" fmla="*/ 1119188 h 2738437"/>
              <a:gd name="connsiteX35" fmla="*/ 1648778 w 2771775"/>
              <a:gd name="connsiteY35" fmla="*/ 1122998 h 2738437"/>
              <a:gd name="connsiteX36" fmla="*/ 1648778 w 2771775"/>
              <a:gd name="connsiteY36" fmla="*/ 1222058 h 2738437"/>
              <a:gd name="connsiteX37" fmla="*/ 332423 w 2771775"/>
              <a:gd name="connsiteY37" fmla="*/ 1238250 h 2738437"/>
              <a:gd name="connsiteX38" fmla="*/ 344805 w 2771775"/>
              <a:gd name="connsiteY38" fmla="*/ 1225868 h 2738437"/>
              <a:gd name="connsiteX39" fmla="*/ 488633 w 2771775"/>
              <a:gd name="connsiteY39" fmla="*/ 1225868 h 2738437"/>
              <a:gd name="connsiteX40" fmla="*/ 702945 w 2771775"/>
              <a:gd name="connsiteY40" fmla="*/ 1420178 h 2738437"/>
              <a:gd name="connsiteX41" fmla="*/ 486728 w 2771775"/>
              <a:gd name="connsiteY41" fmla="*/ 1605915 h 2738437"/>
              <a:gd name="connsiteX42" fmla="*/ 444817 w 2771775"/>
              <a:gd name="connsiteY42" fmla="*/ 1605915 h 2738437"/>
              <a:gd name="connsiteX43" fmla="*/ 441008 w 2771775"/>
              <a:gd name="connsiteY43" fmla="*/ 1609725 h 2738437"/>
              <a:gd name="connsiteX44" fmla="*/ 441008 w 2771775"/>
              <a:gd name="connsiteY44" fmla="*/ 1786890 h 2738437"/>
              <a:gd name="connsiteX45" fmla="*/ 436245 w 2771775"/>
              <a:gd name="connsiteY45" fmla="*/ 1790700 h 2738437"/>
              <a:gd name="connsiteX46" fmla="*/ 354330 w 2771775"/>
              <a:gd name="connsiteY46" fmla="*/ 1734503 h 2738437"/>
              <a:gd name="connsiteX47" fmla="*/ 332423 w 2771775"/>
              <a:gd name="connsiteY47" fmla="*/ 1678305 h 2738437"/>
              <a:gd name="connsiteX48" fmla="*/ 332423 w 2771775"/>
              <a:gd name="connsiteY48" fmla="*/ 1238250 h 2738437"/>
              <a:gd name="connsiteX49" fmla="*/ 595313 w 2771775"/>
              <a:gd name="connsiteY49" fmla="*/ 1414463 h 2738437"/>
              <a:gd name="connsiteX50" fmla="*/ 485775 w 2771775"/>
              <a:gd name="connsiteY50" fmla="*/ 1323975 h 2738437"/>
              <a:gd name="connsiteX51" fmla="*/ 443865 w 2771775"/>
              <a:gd name="connsiteY51" fmla="*/ 1323975 h 2738437"/>
              <a:gd name="connsiteX52" fmla="*/ 440055 w 2771775"/>
              <a:gd name="connsiteY52" fmla="*/ 1327785 h 2738437"/>
              <a:gd name="connsiteX53" fmla="*/ 440055 w 2771775"/>
              <a:gd name="connsiteY53" fmla="*/ 1503045 h 2738437"/>
              <a:gd name="connsiteX54" fmla="*/ 443865 w 2771775"/>
              <a:gd name="connsiteY54" fmla="*/ 1506855 h 2738437"/>
              <a:gd name="connsiteX55" fmla="*/ 488633 w 2771775"/>
              <a:gd name="connsiteY55" fmla="*/ 1506855 h 2738437"/>
              <a:gd name="connsiteX56" fmla="*/ 595313 w 2771775"/>
              <a:gd name="connsiteY56" fmla="*/ 1414463 h 2738437"/>
              <a:gd name="connsiteX57" fmla="*/ 1484948 w 2771775"/>
              <a:gd name="connsiteY57" fmla="*/ 1487805 h 2738437"/>
              <a:gd name="connsiteX58" fmla="*/ 1315403 w 2771775"/>
              <a:gd name="connsiteY58" fmla="*/ 1611630 h 2738437"/>
              <a:gd name="connsiteX59" fmla="*/ 1183005 w 2771775"/>
              <a:gd name="connsiteY59" fmla="*/ 1588770 h 2738437"/>
              <a:gd name="connsiteX60" fmla="*/ 1174433 w 2771775"/>
              <a:gd name="connsiteY60" fmla="*/ 1577340 h 2738437"/>
              <a:gd name="connsiteX61" fmla="*/ 1174433 w 2771775"/>
              <a:gd name="connsiteY61" fmla="*/ 1503045 h 2738437"/>
              <a:gd name="connsiteX62" fmla="*/ 1179195 w 2771775"/>
              <a:gd name="connsiteY62" fmla="*/ 1498283 h 2738437"/>
              <a:gd name="connsiteX63" fmla="*/ 1181100 w 2771775"/>
              <a:gd name="connsiteY63" fmla="*/ 1498283 h 2738437"/>
              <a:gd name="connsiteX64" fmla="*/ 1323975 w 2771775"/>
              <a:gd name="connsiteY64" fmla="*/ 1524953 h 2738437"/>
              <a:gd name="connsiteX65" fmla="*/ 1369695 w 2771775"/>
              <a:gd name="connsiteY65" fmla="*/ 1513523 h 2738437"/>
              <a:gd name="connsiteX66" fmla="*/ 1378268 w 2771775"/>
              <a:gd name="connsiteY66" fmla="*/ 1494473 h 2738437"/>
              <a:gd name="connsiteX67" fmla="*/ 1318260 w 2771775"/>
              <a:gd name="connsiteY67" fmla="*/ 1456373 h 2738437"/>
              <a:gd name="connsiteX68" fmla="*/ 1305878 w 2771775"/>
              <a:gd name="connsiteY68" fmla="*/ 1453515 h 2738437"/>
              <a:gd name="connsiteX69" fmla="*/ 1172528 w 2771775"/>
              <a:gd name="connsiteY69" fmla="*/ 1339215 h 2738437"/>
              <a:gd name="connsiteX70" fmla="*/ 1217295 w 2771775"/>
              <a:gd name="connsiteY70" fmla="*/ 1249680 h 2738437"/>
              <a:gd name="connsiteX71" fmla="*/ 1338263 w 2771775"/>
              <a:gd name="connsiteY71" fmla="*/ 1217295 h 2738437"/>
              <a:gd name="connsiteX72" fmla="*/ 1454468 w 2771775"/>
              <a:gd name="connsiteY72" fmla="*/ 1238250 h 2738437"/>
              <a:gd name="connsiteX73" fmla="*/ 1463040 w 2771775"/>
              <a:gd name="connsiteY73" fmla="*/ 1249680 h 2738437"/>
              <a:gd name="connsiteX74" fmla="*/ 1463040 w 2771775"/>
              <a:gd name="connsiteY74" fmla="*/ 1323975 h 2738437"/>
              <a:gd name="connsiteX75" fmla="*/ 1456373 w 2771775"/>
              <a:gd name="connsiteY75" fmla="*/ 1327785 h 2738437"/>
              <a:gd name="connsiteX76" fmla="*/ 1323975 w 2771775"/>
              <a:gd name="connsiteY76" fmla="*/ 1302068 h 2738437"/>
              <a:gd name="connsiteX77" fmla="*/ 1280160 w 2771775"/>
              <a:gd name="connsiteY77" fmla="*/ 1331595 h 2738437"/>
              <a:gd name="connsiteX78" fmla="*/ 1337310 w 2771775"/>
              <a:gd name="connsiteY78" fmla="*/ 1364933 h 2738437"/>
              <a:gd name="connsiteX79" fmla="*/ 1363028 w 2771775"/>
              <a:gd name="connsiteY79" fmla="*/ 1370648 h 2738437"/>
              <a:gd name="connsiteX80" fmla="*/ 1439228 w 2771775"/>
              <a:gd name="connsiteY80" fmla="*/ 1397318 h 2738437"/>
              <a:gd name="connsiteX81" fmla="*/ 1484948 w 2771775"/>
              <a:gd name="connsiteY81" fmla="*/ 1487805 h 2738437"/>
              <a:gd name="connsiteX82" fmla="*/ 2065973 w 2771775"/>
              <a:gd name="connsiteY82" fmla="*/ 1604010 h 2738437"/>
              <a:gd name="connsiteX83" fmla="*/ 2064068 w 2771775"/>
              <a:gd name="connsiteY83" fmla="*/ 1602105 h 2738437"/>
              <a:gd name="connsiteX84" fmla="*/ 2064068 w 2771775"/>
              <a:gd name="connsiteY84" fmla="*/ 1376363 h 2738437"/>
              <a:gd name="connsiteX85" fmla="*/ 2006918 w 2771775"/>
              <a:gd name="connsiteY85" fmla="*/ 1304925 h 2738437"/>
              <a:gd name="connsiteX86" fmla="*/ 1958340 w 2771775"/>
              <a:gd name="connsiteY86" fmla="*/ 1320165 h 2738437"/>
              <a:gd name="connsiteX87" fmla="*/ 1923098 w 2771775"/>
              <a:gd name="connsiteY87" fmla="*/ 1341120 h 2738437"/>
              <a:gd name="connsiteX88" fmla="*/ 1920240 w 2771775"/>
              <a:gd name="connsiteY88" fmla="*/ 1345883 h 2738437"/>
              <a:gd name="connsiteX89" fmla="*/ 1920240 w 2771775"/>
              <a:gd name="connsiteY89" fmla="*/ 1603058 h 2738437"/>
              <a:gd name="connsiteX90" fmla="*/ 1918335 w 2771775"/>
              <a:gd name="connsiteY90" fmla="*/ 1604963 h 2738437"/>
              <a:gd name="connsiteX91" fmla="*/ 1817370 w 2771775"/>
              <a:gd name="connsiteY91" fmla="*/ 1604963 h 2738437"/>
              <a:gd name="connsiteX92" fmla="*/ 1815465 w 2771775"/>
              <a:gd name="connsiteY92" fmla="*/ 1603058 h 2738437"/>
              <a:gd name="connsiteX93" fmla="*/ 1815465 w 2771775"/>
              <a:gd name="connsiteY93" fmla="*/ 1239203 h 2738437"/>
              <a:gd name="connsiteX94" fmla="*/ 1825943 w 2771775"/>
              <a:gd name="connsiteY94" fmla="*/ 1228725 h 2738437"/>
              <a:gd name="connsiteX95" fmla="*/ 1918335 w 2771775"/>
              <a:gd name="connsiteY95" fmla="*/ 1228725 h 2738437"/>
              <a:gd name="connsiteX96" fmla="*/ 1920240 w 2771775"/>
              <a:gd name="connsiteY96" fmla="*/ 1230630 h 2738437"/>
              <a:gd name="connsiteX97" fmla="*/ 1920240 w 2771775"/>
              <a:gd name="connsiteY97" fmla="*/ 1259205 h 2738437"/>
              <a:gd name="connsiteX98" fmla="*/ 1923098 w 2771775"/>
              <a:gd name="connsiteY98" fmla="*/ 1262063 h 2738437"/>
              <a:gd name="connsiteX99" fmla="*/ 1925003 w 2771775"/>
              <a:gd name="connsiteY99" fmla="*/ 1261110 h 2738437"/>
              <a:gd name="connsiteX100" fmla="*/ 1927860 w 2771775"/>
              <a:gd name="connsiteY100" fmla="*/ 1259205 h 2738437"/>
              <a:gd name="connsiteX101" fmla="*/ 1967865 w 2771775"/>
              <a:gd name="connsiteY101" fmla="*/ 1236345 h 2738437"/>
              <a:gd name="connsiteX102" fmla="*/ 2042160 w 2771775"/>
              <a:gd name="connsiteY102" fmla="*/ 1221105 h 2738437"/>
              <a:gd name="connsiteX103" fmla="*/ 2167890 w 2771775"/>
              <a:gd name="connsiteY103" fmla="*/ 1358265 h 2738437"/>
              <a:gd name="connsiteX104" fmla="*/ 2167890 w 2771775"/>
              <a:gd name="connsiteY104" fmla="*/ 1603058 h 2738437"/>
              <a:gd name="connsiteX105" fmla="*/ 2165985 w 2771775"/>
              <a:gd name="connsiteY105" fmla="*/ 1604963 h 2738437"/>
              <a:gd name="connsiteX106" fmla="*/ 2065973 w 2771775"/>
              <a:gd name="connsiteY106" fmla="*/ 1604963 h 2738437"/>
              <a:gd name="connsiteX107" fmla="*/ 2251710 w 2771775"/>
              <a:gd name="connsiteY107" fmla="*/ 1604010 h 2738437"/>
              <a:gd name="connsiteX108" fmla="*/ 2249805 w 2771775"/>
              <a:gd name="connsiteY108" fmla="*/ 1602105 h 2738437"/>
              <a:gd name="connsiteX109" fmla="*/ 2249805 w 2771775"/>
              <a:gd name="connsiteY109" fmla="*/ 1044893 h 2738437"/>
              <a:gd name="connsiteX110" fmla="*/ 2252663 w 2771775"/>
              <a:gd name="connsiteY110" fmla="*/ 1042035 h 2738437"/>
              <a:gd name="connsiteX111" fmla="*/ 2333625 w 2771775"/>
              <a:gd name="connsiteY111" fmla="*/ 1097280 h 2738437"/>
              <a:gd name="connsiteX112" fmla="*/ 2354580 w 2771775"/>
              <a:gd name="connsiteY112" fmla="*/ 1152525 h 2738437"/>
              <a:gd name="connsiteX113" fmla="*/ 2354580 w 2771775"/>
              <a:gd name="connsiteY113" fmla="*/ 1601153 h 2738437"/>
              <a:gd name="connsiteX114" fmla="*/ 2352675 w 2771775"/>
              <a:gd name="connsiteY114" fmla="*/ 1603058 h 2738437"/>
              <a:gd name="connsiteX115" fmla="*/ 2251710 w 2771775"/>
              <a:gd name="connsiteY115" fmla="*/ 1603058 h 2738437"/>
              <a:gd name="connsiteX116" fmla="*/ 939165 w 2771775"/>
              <a:gd name="connsiteY116" fmla="*/ 635318 h 2738437"/>
              <a:gd name="connsiteX117" fmla="*/ 933450 w 2771775"/>
              <a:gd name="connsiteY117" fmla="*/ 637223 h 2738437"/>
              <a:gd name="connsiteX118" fmla="*/ 888683 w 2771775"/>
              <a:gd name="connsiteY118" fmla="*/ 681038 h 2738437"/>
              <a:gd name="connsiteX119" fmla="*/ 888683 w 2771775"/>
              <a:gd name="connsiteY119" fmla="*/ 695325 h 2738437"/>
              <a:gd name="connsiteX120" fmla="*/ 930593 w 2771775"/>
              <a:gd name="connsiteY120" fmla="*/ 737235 h 2738437"/>
              <a:gd name="connsiteX121" fmla="*/ 939165 w 2771775"/>
              <a:gd name="connsiteY121" fmla="*/ 741045 h 2738437"/>
              <a:gd name="connsiteX122" fmla="*/ 947738 w 2771775"/>
              <a:gd name="connsiteY122" fmla="*/ 737235 h 2738437"/>
              <a:gd name="connsiteX123" fmla="*/ 989647 w 2771775"/>
              <a:gd name="connsiteY123" fmla="*/ 695325 h 2738437"/>
              <a:gd name="connsiteX124" fmla="*/ 989647 w 2771775"/>
              <a:gd name="connsiteY124" fmla="*/ 681038 h 2738437"/>
              <a:gd name="connsiteX125" fmla="*/ 945833 w 2771775"/>
              <a:gd name="connsiteY125" fmla="*/ 637223 h 2738437"/>
              <a:gd name="connsiteX126" fmla="*/ 939165 w 2771775"/>
              <a:gd name="connsiteY126" fmla="*/ 635318 h 2738437"/>
              <a:gd name="connsiteX127" fmla="*/ 939165 w 2771775"/>
              <a:gd name="connsiteY127" fmla="*/ 635318 h 2738437"/>
              <a:gd name="connsiteX128" fmla="*/ 939165 w 2771775"/>
              <a:gd name="connsiteY128" fmla="*/ 772478 h 2738437"/>
              <a:gd name="connsiteX129" fmla="*/ 913447 w 2771775"/>
              <a:gd name="connsiteY129" fmla="*/ 773430 h 2738437"/>
              <a:gd name="connsiteX130" fmla="*/ 913447 w 2771775"/>
              <a:gd name="connsiteY130" fmla="*/ 773430 h 2738437"/>
              <a:gd name="connsiteX131" fmla="*/ 904875 w 2771775"/>
              <a:gd name="connsiteY131" fmla="*/ 777240 h 2738437"/>
              <a:gd name="connsiteX132" fmla="*/ 900113 w 2771775"/>
              <a:gd name="connsiteY132" fmla="*/ 788670 h 2738437"/>
              <a:gd name="connsiteX133" fmla="*/ 902018 w 2771775"/>
              <a:gd name="connsiteY133" fmla="*/ 956310 h 2738437"/>
              <a:gd name="connsiteX134" fmla="*/ 902970 w 2771775"/>
              <a:gd name="connsiteY134" fmla="*/ 1005840 h 2738437"/>
              <a:gd name="connsiteX135" fmla="*/ 915353 w 2771775"/>
              <a:gd name="connsiteY135" fmla="*/ 1019175 h 2738437"/>
              <a:gd name="connsiteX136" fmla="*/ 961072 w 2771775"/>
              <a:gd name="connsiteY136" fmla="*/ 1019175 h 2738437"/>
              <a:gd name="connsiteX137" fmla="*/ 973455 w 2771775"/>
              <a:gd name="connsiteY137" fmla="*/ 1006793 h 2738437"/>
              <a:gd name="connsiteX138" fmla="*/ 973455 w 2771775"/>
              <a:gd name="connsiteY138" fmla="*/ 1005840 h 2738437"/>
              <a:gd name="connsiteX139" fmla="*/ 976313 w 2771775"/>
              <a:gd name="connsiteY139" fmla="*/ 791528 h 2738437"/>
              <a:gd name="connsiteX140" fmla="*/ 976313 w 2771775"/>
              <a:gd name="connsiteY140" fmla="*/ 788670 h 2738437"/>
              <a:gd name="connsiteX141" fmla="*/ 971550 w 2771775"/>
              <a:gd name="connsiteY141" fmla="*/ 777240 h 2738437"/>
              <a:gd name="connsiteX142" fmla="*/ 962978 w 2771775"/>
              <a:gd name="connsiteY142" fmla="*/ 773430 h 2738437"/>
              <a:gd name="connsiteX143" fmla="*/ 939165 w 2771775"/>
              <a:gd name="connsiteY143" fmla="*/ 772478 h 2738437"/>
              <a:gd name="connsiteX144" fmla="*/ 939165 w 2771775"/>
              <a:gd name="connsiteY144" fmla="*/ 772478 h 2738437"/>
              <a:gd name="connsiteX145" fmla="*/ 1055370 w 2771775"/>
              <a:gd name="connsiteY145" fmla="*/ 784860 h 2738437"/>
              <a:gd name="connsiteX146" fmla="*/ 1031558 w 2771775"/>
              <a:gd name="connsiteY146" fmla="*/ 801053 h 2738437"/>
              <a:gd name="connsiteX147" fmla="*/ 999172 w 2771775"/>
              <a:gd name="connsiteY147" fmla="*/ 890588 h 2738437"/>
              <a:gd name="connsiteX148" fmla="*/ 1000125 w 2771775"/>
              <a:gd name="connsiteY148" fmla="*/ 900113 h 2738437"/>
              <a:gd name="connsiteX149" fmla="*/ 1008697 w 2771775"/>
              <a:gd name="connsiteY149" fmla="*/ 903923 h 2738437"/>
              <a:gd name="connsiteX150" fmla="*/ 1043940 w 2771775"/>
              <a:gd name="connsiteY150" fmla="*/ 903923 h 2738437"/>
              <a:gd name="connsiteX151" fmla="*/ 1056323 w 2771775"/>
              <a:gd name="connsiteY151" fmla="*/ 896303 h 2738437"/>
              <a:gd name="connsiteX152" fmla="*/ 1073468 w 2771775"/>
              <a:gd name="connsiteY152" fmla="*/ 848678 h 2738437"/>
              <a:gd name="connsiteX153" fmla="*/ 1076325 w 2771775"/>
              <a:gd name="connsiteY153" fmla="*/ 847725 h 2738437"/>
              <a:gd name="connsiteX154" fmla="*/ 1079183 w 2771775"/>
              <a:gd name="connsiteY154" fmla="*/ 847725 h 2738437"/>
              <a:gd name="connsiteX155" fmla="*/ 1097280 w 2771775"/>
              <a:gd name="connsiteY155" fmla="*/ 853440 h 2738437"/>
              <a:gd name="connsiteX156" fmla="*/ 1101090 w 2771775"/>
              <a:gd name="connsiteY156" fmla="*/ 857250 h 2738437"/>
              <a:gd name="connsiteX157" fmla="*/ 1102043 w 2771775"/>
              <a:gd name="connsiteY157" fmla="*/ 866775 h 2738437"/>
              <a:gd name="connsiteX158" fmla="*/ 1054418 w 2771775"/>
              <a:gd name="connsiteY158" fmla="*/ 1002982 h 2738437"/>
              <a:gd name="connsiteX159" fmla="*/ 1055370 w 2771775"/>
              <a:gd name="connsiteY159" fmla="*/ 1015365 h 2738437"/>
              <a:gd name="connsiteX160" fmla="*/ 1065848 w 2771775"/>
              <a:gd name="connsiteY160" fmla="*/ 1019175 h 2738437"/>
              <a:gd name="connsiteX161" fmla="*/ 1109663 w 2771775"/>
              <a:gd name="connsiteY161" fmla="*/ 1019175 h 2738437"/>
              <a:gd name="connsiteX162" fmla="*/ 1123950 w 2771775"/>
              <a:gd name="connsiteY162" fmla="*/ 1010603 h 2738437"/>
              <a:gd name="connsiteX163" fmla="*/ 1130618 w 2771775"/>
              <a:gd name="connsiteY163" fmla="*/ 992505 h 2738437"/>
              <a:gd name="connsiteX164" fmla="*/ 1131570 w 2771775"/>
              <a:gd name="connsiteY164" fmla="*/ 989648 h 2738437"/>
              <a:gd name="connsiteX165" fmla="*/ 1168718 w 2771775"/>
              <a:gd name="connsiteY165" fmla="*/ 881063 h 2738437"/>
              <a:gd name="connsiteX166" fmla="*/ 1138238 w 2771775"/>
              <a:gd name="connsiteY166" fmla="*/ 809625 h 2738437"/>
              <a:gd name="connsiteX167" fmla="*/ 1102995 w 2771775"/>
              <a:gd name="connsiteY167" fmla="*/ 797243 h 2738437"/>
              <a:gd name="connsiteX168" fmla="*/ 1063943 w 2771775"/>
              <a:gd name="connsiteY168" fmla="*/ 786765 h 2738437"/>
              <a:gd name="connsiteX169" fmla="*/ 1062038 w 2771775"/>
              <a:gd name="connsiteY169" fmla="*/ 786765 h 2738437"/>
              <a:gd name="connsiteX170" fmla="*/ 1055370 w 2771775"/>
              <a:gd name="connsiteY170" fmla="*/ 784860 h 2738437"/>
              <a:gd name="connsiteX171" fmla="*/ 1055370 w 2771775"/>
              <a:gd name="connsiteY171" fmla="*/ 784860 h 2738437"/>
              <a:gd name="connsiteX172" fmla="*/ 823913 w 2771775"/>
              <a:gd name="connsiteY172" fmla="*/ 784860 h 2738437"/>
              <a:gd name="connsiteX173" fmla="*/ 816293 w 2771775"/>
              <a:gd name="connsiteY173" fmla="*/ 785813 h 2738437"/>
              <a:gd name="connsiteX174" fmla="*/ 814388 w 2771775"/>
              <a:gd name="connsiteY174" fmla="*/ 785813 h 2738437"/>
              <a:gd name="connsiteX175" fmla="*/ 775335 w 2771775"/>
              <a:gd name="connsiteY175" fmla="*/ 796290 h 2738437"/>
              <a:gd name="connsiteX176" fmla="*/ 740093 w 2771775"/>
              <a:gd name="connsiteY176" fmla="*/ 808673 h 2738437"/>
              <a:gd name="connsiteX177" fmla="*/ 709613 w 2771775"/>
              <a:gd name="connsiteY177" fmla="*/ 880110 h 2738437"/>
              <a:gd name="connsiteX178" fmla="*/ 748665 w 2771775"/>
              <a:gd name="connsiteY178" fmla="*/ 991553 h 2738437"/>
              <a:gd name="connsiteX179" fmla="*/ 755333 w 2771775"/>
              <a:gd name="connsiteY179" fmla="*/ 1009650 h 2738437"/>
              <a:gd name="connsiteX180" fmla="*/ 769620 w 2771775"/>
              <a:gd name="connsiteY180" fmla="*/ 1018223 h 2738437"/>
              <a:gd name="connsiteX181" fmla="*/ 813435 w 2771775"/>
              <a:gd name="connsiteY181" fmla="*/ 1018223 h 2738437"/>
              <a:gd name="connsiteX182" fmla="*/ 823913 w 2771775"/>
              <a:gd name="connsiteY182" fmla="*/ 1014413 h 2738437"/>
              <a:gd name="connsiteX183" fmla="*/ 824865 w 2771775"/>
              <a:gd name="connsiteY183" fmla="*/ 1002030 h 2738437"/>
              <a:gd name="connsiteX184" fmla="*/ 777240 w 2771775"/>
              <a:gd name="connsiteY184" fmla="*/ 865823 h 2738437"/>
              <a:gd name="connsiteX185" fmla="*/ 778193 w 2771775"/>
              <a:gd name="connsiteY185" fmla="*/ 856298 h 2738437"/>
              <a:gd name="connsiteX186" fmla="*/ 782003 w 2771775"/>
              <a:gd name="connsiteY186" fmla="*/ 852488 h 2738437"/>
              <a:gd name="connsiteX187" fmla="*/ 800100 w 2771775"/>
              <a:gd name="connsiteY187" fmla="*/ 846773 h 2738437"/>
              <a:gd name="connsiteX188" fmla="*/ 802005 w 2771775"/>
              <a:gd name="connsiteY188" fmla="*/ 846773 h 2738437"/>
              <a:gd name="connsiteX189" fmla="*/ 804863 w 2771775"/>
              <a:gd name="connsiteY189" fmla="*/ 847725 h 2738437"/>
              <a:gd name="connsiteX190" fmla="*/ 822008 w 2771775"/>
              <a:gd name="connsiteY190" fmla="*/ 895350 h 2738437"/>
              <a:gd name="connsiteX191" fmla="*/ 834390 w 2771775"/>
              <a:gd name="connsiteY191" fmla="*/ 902970 h 2738437"/>
              <a:gd name="connsiteX192" fmla="*/ 869633 w 2771775"/>
              <a:gd name="connsiteY192" fmla="*/ 902970 h 2738437"/>
              <a:gd name="connsiteX193" fmla="*/ 878205 w 2771775"/>
              <a:gd name="connsiteY193" fmla="*/ 899160 h 2738437"/>
              <a:gd name="connsiteX194" fmla="*/ 879158 w 2771775"/>
              <a:gd name="connsiteY194" fmla="*/ 889635 h 2738437"/>
              <a:gd name="connsiteX195" fmla="*/ 846772 w 2771775"/>
              <a:gd name="connsiteY195" fmla="*/ 800100 h 2738437"/>
              <a:gd name="connsiteX196" fmla="*/ 823913 w 2771775"/>
              <a:gd name="connsiteY196" fmla="*/ 784860 h 2738437"/>
              <a:gd name="connsiteX197" fmla="*/ 823913 w 2771775"/>
              <a:gd name="connsiteY197" fmla="*/ 784860 h 2738437"/>
              <a:gd name="connsiteX198" fmla="*/ 1102043 w 2771775"/>
              <a:gd name="connsiteY198" fmla="*/ 1051560 h 2738437"/>
              <a:gd name="connsiteX199" fmla="*/ 778193 w 2771775"/>
              <a:gd name="connsiteY199" fmla="*/ 1051560 h 2738437"/>
              <a:gd name="connsiteX200" fmla="*/ 757238 w 2771775"/>
              <a:gd name="connsiteY200" fmla="*/ 1072515 h 2738437"/>
              <a:gd name="connsiteX201" fmla="*/ 757238 w 2771775"/>
              <a:gd name="connsiteY201" fmla="*/ 1113473 h 2738437"/>
              <a:gd name="connsiteX202" fmla="*/ 774383 w 2771775"/>
              <a:gd name="connsiteY202" fmla="*/ 1132523 h 2738437"/>
              <a:gd name="connsiteX203" fmla="*/ 1106805 w 2771775"/>
              <a:gd name="connsiteY203" fmla="*/ 1132523 h 2738437"/>
              <a:gd name="connsiteX204" fmla="*/ 1123950 w 2771775"/>
              <a:gd name="connsiteY204" fmla="*/ 1113473 h 2738437"/>
              <a:gd name="connsiteX205" fmla="*/ 1123950 w 2771775"/>
              <a:gd name="connsiteY205" fmla="*/ 1072515 h 2738437"/>
              <a:gd name="connsiteX206" fmla="*/ 1102043 w 2771775"/>
              <a:gd name="connsiteY206" fmla="*/ 1051560 h 2738437"/>
              <a:gd name="connsiteX207" fmla="*/ 1102043 w 2771775"/>
              <a:gd name="connsiteY207" fmla="*/ 1051560 h 2738437"/>
              <a:gd name="connsiteX208" fmla="*/ 2661285 w 2771775"/>
              <a:gd name="connsiteY208" fmla="*/ 1366838 h 2738437"/>
              <a:gd name="connsiteX209" fmla="*/ 1778318 w 2771775"/>
              <a:gd name="connsiteY209" fmla="*/ 494348 h 2738437"/>
              <a:gd name="connsiteX210" fmla="*/ 459105 w 2771775"/>
              <a:gd name="connsiteY210" fmla="*/ 142875 h 2738437"/>
              <a:gd name="connsiteX211" fmla="*/ 111443 w 2771775"/>
              <a:gd name="connsiteY211" fmla="*/ 1366838 h 2738437"/>
              <a:gd name="connsiteX212" fmla="*/ 459105 w 2771775"/>
              <a:gd name="connsiteY212" fmla="*/ 2590800 h 2738437"/>
              <a:gd name="connsiteX213" fmla="*/ 1779270 w 2771775"/>
              <a:gd name="connsiteY213" fmla="*/ 2239328 h 2738437"/>
              <a:gd name="connsiteX214" fmla="*/ 2661285 w 2771775"/>
              <a:gd name="connsiteY214" fmla="*/ 1366838 h 2738437"/>
              <a:gd name="connsiteX215" fmla="*/ 616268 w 2771775"/>
              <a:gd name="connsiteY215" fmla="*/ 0 h 2738437"/>
              <a:gd name="connsiteX216" fmla="*/ 1831658 w 2771775"/>
              <a:gd name="connsiteY216" fmla="*/ 403860 h 2738437"/>
              <a:gd name="connsiteX217" fmla="*/ 2440305 w 2771775"/>
              <a:gd name="connsiteY217" fmla="*/ 842963 h 2738437"/>
              <a:gd name="connsiteX218" fmla="*/ 2771775 w 2771775"/>
              <a:gd name="connsiteY218" fmla="*/ 1366838 h 2738437"/>
              <a:gd name="connsiteX219" fmla="*/ 2435543 w 2771775"/>
              <a:gd name="connsiteY219" fmla="*/ 1901190 h 2738437"/>
              <a:gd name="connsiteX220" fmla="*/ 1831658 w 2771775"/>
              <a:gd name="connsiteY220" fmla="*/ 2330768 h 2738437"/>
              <a:gd name="connsiteX221" fmla="*/ 627698 w 2771775"/>
              <a:gd name="connsiteY221" fmla="*/ 2738438 h 2738437"/>
              <a:gd name="connsiteX222" fmla="*/ 400050 w 2771775"/>
              <a:gd name="connsiteY222" fmla="*/ 2690813 h 2738437"/>
              <a:gd name="connsiteX223" fmla="*/ 93345 w 2771775"/>
              <a:gd name="connsiteY223" fmla="*/ 2161223 h 2738437"/>
              <a:gd name="connsiteX224" fmla="*/ 0 w 2771775"/>
              <a:gd name="connsiteY224" fmla="*/ 1367790 h 2738437"/>
              <a:gd name="connsiteX225" fmla="*/ 94298 w 2771775"/>
              <a:gd name="connsiteY225" fmla="*/ 583883 h 2738437"/>
              <a:gd name="connsiteX226" fmla="*/ 400050 w 2771775"/>
              <a:gd name="connsiteY226" fmla="*/ 43815 h 2738437"/>
              <a:gd name="connsiteX227" fmla="*/ 616268 w 2771775"/>
              <a:gd name="connsiteY227" fmla="*/ 0 h 2738437"/>
              <a:gd name="connsiteX228" fmla="*/ 616268 w 2771775"/>
              <a:gd name="connsiteY228" fmla="*/ 0 h 2738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Lst>
            <a:rect l="l" t="t" r="r" b="b"/>
            <a:pathLst>
              <a:path w="2771775" h="2738437">
                <a:moveTo>
                  <a:pt x="939165" y="1218248"/>
                </a:moveTo>
                <a:cubicBezTo>
                  <a:pt x="830580" y="1218248"/>
                  <a:pt x="741998" y="1279208"/>
                  <a:pt x="741998" y="1415415"/>
                </a:cubicBezTo>
                <a:cubicBezTo>
                  <a:pt x="741998" y="1548765"/>
                  <a:pt x="829628" y="1612583"/>
                  <a:pt x="939165" y="1612583"/>
                </a:cubicBezTo>
                <a:cubicBezTo>
                  <a:pt x="1047750" y="1612583"/>
                  <a:pt x="1135380" y="1548765"/>
                  <a:pt x="1135380" y="1416368"/>
                </a:cubicBezTo>
                <a:cubicBezTo>
                  <a:pt x="1136333" y="1279208"/>
                  <a:pt x="1048703" y="1218248"/>
                  <a:pt x="939165" y="1218248"/>
                </a:cubicBezTo>
                <a:close/>
                <a:moveTo>
                  <a:pt x="939165" y="1518285"/>
                </a:moveTo>
                <a:cubicBezTo>
                  <a:pt x="890588" y="1518285"/>
                  <a:pt x="854393" y="1481138"/>
                  <a:pt x="854393" y="1415415"/>
                </a:cubicBezTo>
                <a:cubicBezTo>
                  <a:pt x="854393" y="1343978"/>
                  <a:pt x="890588" y="1312545"/>
                  <a:pt x="939165" y="1312545"/>
                </a:cubicBezTo>
                <a:cubicBezTo>
                  <a:pt x="987743" y="1312545"/>
                  <a:pt x="1023938" y="1343978"/>
                  <a:pt x="1023938" y="1415415"/>
                </a:cubicBezTo>
                <a:cubicBezTo>
                  <a:pt x="1024890" y="1481138"/>
                  <a:pt x="987743" y="1518285"/>
                  <a:pt x="939165" y="1518285"/>
                </a:cubicBezTo>
                <a:close/>
                <a:moveTo>
                  <a:pt x="1648778" y="1222058"/>
                </a:moveTo>
                <a:lnTo>
                  <a:pt x="1648778" y="1222058"/>
                </a:lnTo>
                <a:cubicBezTo>
                  <a:pt x="1648778" y="1223963"/>
                  <a:pt x="1650683" y="1225868"/>
                  <a:pt x="1652588" y="1225868"/>
                </a:cubicBezTo>
                <a:lnTo>
                  <a:pt x="1735455" y="1225868"/>
                </a:lnTo>
                <a:cubicBezTo>
                  <a:pt x="1742123" y="1225868"/>
                  <a:pt x="1746885" y="1231583"/>
                  <a:pt x="1746885" y="1237298"/>
                </a:cubicBezTo>
                <a:lnTo>
                  <a:pt x="1746885" y="1308735"/>
                </a:lnTo>
                <a:lnTo>
                  <a:pt x="1746885" y="1308735"/>
                </a:lnTo>
                <a:lnTo>
                  <a:pt x="1746885" y="1308735"/>
                </a:lnTo>
                <a:cubicBezTo>
                  <a:pt x="1746885" y="1310640"/>
                  <a:pt x="1744980" y="1312545"/>
                  <a:pt x="1743075" y="1312545"/>
                </a:cubicBezTo>
                <a:lnTo>
                  <a:pt x="1651635" y="1312545"/>
                </a:lnTo>
                <a:lnTo>
                  <a:pt x="1651635" y="1312545"/>
                </a:lnTo>
                <a:cubicBezTo>
                  <a:pt x="1649730" y="1312545"/>
                  <a:pt x="1647825" y="1314450"/>
                  <a:pt x="1647825" y="1316355"/>
                </a:cubicBezTo>
                <a:lnTo>
                  <a:pt x="1647825" y="1455420"/>
                </a:lnTo>
                <a:cubicBezTo>
                  <a:pt x="1647825" y="1508760"/>
                  <a:pt x="1667828" y="1524953"/>
                  <a:pt x="1702118" y="1524953"/>
                </a:cubicBezTo>
                <a:cubicBezTo>
                  <a:pt x="1718310" y="1524953"/>
                  <a:pt x="1743075" y="1515428"/>
                  <a:pt x="1745933" y="1515428"/>
                </a:cubicBezTo>
                <a:cubicBezTo>
                  <a:pt x="1747838" y="1515428"/>
                  <a:pt x="1749743" y="1517333"/>
                  <a:pt x="1749743" y="1519238"/>
                </a:cubicBezTo>
                <a:lnTo>
                  <a:pt x="1749743" y="1587818"/>
                </a:lnTo>
                <a:lnTo>
                  <a:pt x="1749743" y="1587818"/>
                </a:lnTo>
                <a:lnTo>
                  <a:pt x="1749743" y="1587818"/>
                </a:lnTo>
                <a:cubicBezTo>
                  <a:pt x="1749743" y="1592580"/>
                  <a:pt x="1746885" y="1596390"/>
                  <a:pt x="1744028" y="1598295"/>
                </a:cubicBezTo>
                <a:cubicBezTo>
                  <a:pt x="1728788" y="1606868"/>
                  <a:pt x="1704023" y="1611630"/>
                  <a:pt x="1665923" y="1611630"/>
                </a:cubicBezTo>
                <a:cubicBezTo>
                  <a:pt x="1601153" y="1611630"/>
                  <a:pt x="1540193" y="1579245"/>
                  <a:pt x="1540193" y="1473518"/>
                </a:cubicBezTo>
                <a:lnTo>
                  <a:pt x="1540193" y="1231583"/>
                </a:lnTo>
                <a:cubicBezTo>
                  <a:pt x="1540193" y="1210628"/>
                  <a:pt x="1548765" y="1189673"/>
                  <a:pt x="1562100" y="1175385"/>
                </a:cubicBezTo>
                <a:cubicBezTo>
                  <a:pt x="1579245" y="1156335"/>
                  <a:pt x="1636395" y="1119188"/>
                  <a:pt x="1644015" y="1119188"/>
                </a:cubicBezTo>
                <a:cubicBezTo>
                  <a:pt x="1646873" y="1119188"/>
                  <a:pt x="1648778" y="1120140"/>
                  <a:pt x="1648778" y="1122998"/>
                </a:cubicBezTo>
                <a:lnTo>
                  <a:pt x="1648778" y="1222058"/>
                </a:lnTo>
                <a:close/>
                <a:moveTo>
                  <a:pt x="332423" y="1238250"/>
                </a:moveTo>
                <a:cubicBezTo>
                  <a:pt x="332423" y="1231583"/>
                  <a:pt x="338138" y="1225868"/>
                  <a:pt x="344805" y="1225868"/>
                </a:cubicBezTo>
                <a:lnTo>
                  <a:pt x="488633" y="1225868"/>
                </a:lnTo>
                <a:cubicBezTo>
                  <a:pt x="629603" y="1225868"/>
                  <a:pt x="702945" y="1310640"/>
                  <a:pt x="702945" y="1420178"/>
                </a:cubicBezTo>
                <a:cubicBezTo>
                  <a:pt x="702945" y="1529715"/>
                  <a:pt x="621030" y="1605915"/>
                  <a:pt x="486728" y="1605915"/>
                </a:cubicBezTo>
                <a:lnTo>
                  <a:pt x="444817" y="1605915"/>
                </a:lnTo>
                <a:cubicBezTo>
                  <a:pt x="442913" y="1605915"/>
                  <a:pt x="441008" y="1607820"/>
                  <a:pt x="441008" y="1609725"/>
                </a:cubicBezTo>
                <a:lnTo>
                  <a:pt x="441008" y="1786890"/>
                </a:lnTo>
                <a:cubicBezTo>
                  <a:pt x="441008" y="1789748"/>
                  <a:pt x="440055" y="1790700"/>
                  <a:pt x="436245" y="1790700"/>
                </a:cubicBezTo>
                <a:cubicBezTo>
                  <a:pt x="428625" y="1790700"/>
                  <a:pt x="372428" y="1754505"/>
                  <a:pt x="354330" y="1734503"/>
                </a:cubicBezTo>
                <a:cubicBezTo>
                  <a:pt x="340995" y="1720215"/>
                  <a:pt x="332423" y="1699260"/>
                  <a:pt x="332423" y="1678305"/>
                </a:cubicBezTo>
                <a:lnTo>
                  <a:pt x="332423" y="1238250"/>
                </a:lnTo>
                <a:close/>
                <a:moveTo>
                  <a:pt x="595313" y="1414463"/>
                </a:moveTo>
                <a:cubicBezTo>
                  <a:pt x="595313" y="1367790"/>
                  <a:pt x="564833" y="1323975"/>
                  <a:pt x="485775" y="1323975"/>
                </a:cubicBezTo>
                <a:lnTo>
                  <a:pt x="443865" y="1323975"/>
                </a:lnTo>
                <a:cubicBezTo>
                  <a:pt x="441960" y="1323975"/>
                  <a:pt x="440055" y="1325880"/>
                  <a:pt x="440055" y="1327785"/>
                </a:cubicBezTo>
                <a:lnTo>
                  <a:pt x="440055" y="1503045"/>
                </a:lnTo>
                <a:cubicBezTo>
                  <a:pt x="440055" y="1504950"/>
                  <a:pt x="441960" y="1506855"/>
                  <a:pt x="443865" y="1506855"/>
                </a:cubicBezTo>
                <a:lnTo>
                  <a:pt x="488633" y="1506855"/>
                </a:lnTo>
                <a:cubicBezTo>
                  <a:pt x="582930" y="1506855"/>
                  <a:pt x="595313" y="1441133"/>
                  <a:pt x="595313" y="1414463"/>
                </a:cubicBezTo>
                <a:close/>
                <a:moveTo>
                  <a:pt x="1484948" y="1487805"/>
                </a:moveTo>
                <a:cubicBezTo>
                  <a:pt x="1484948" y="1567815"/>
                  <a:pt x="1427798" y="1611630"/>
                  <a:pt x="1315403" y="1611630"/>
                </a:cubicBezTo>
                <a:cubicBezTo>
                  <a:pt x="1251585" y="1611630"/>
                  <a:pt x="1183958" y="1588770"/>
                  <a:pt x="1183005" y="1588770"/>
                </a:cubicBezTo>
                <a:cubicBezTo>
                  <a:pt x="1178243" y="1586865"/>
                  <a:pt x="1174433" y="1582103"/>
                  <a:pt x="1174433" y="1577340"/>
                </a:cubicBezTo>
                <a:lnTo>
                  <a:pt x="1174433" y="1503045"/>
                </a:lnTo>
                <a:cubicBezTo>
                  <a:pt x="1174433" y="1500188"/>
                  <a:pt x="1176338" y="1498283"/>
                  <a:pt x="1179195" y="1498283"/>
                </a:cubicBezTo>
                <a:cubicBezTo>
                  <a:pt x="1179195" y="1498283"/>
                  <a:pt x="1180148" y="1498283"/>
                  <a:pt x="1181100" y="1498283"/>
                </a:cubicBezTo>
                <a:cubicBezTo>
                  <a:pt x="1204913" y="1505903"/>
                  <a:pt x="1283018" y="1524953"/>
                  <a:pt x="1323975" y="1524953"/>
                </a:cubicBezTo>
                <a:cubicBezTo>
                  <a:pt x="1348740" y="1524953"/>
                  <a:pt x="1361123" y="1521143"/>
                  <a:pt x="1369695" y="1513523"/>
                </a:cubicBezTo>
                <a:cubicBezTo>
                  <a:pt x="1375410" y="1507808"/>
                  <a:pt x="1378268" y="1502093"/>
                  <a:pt x="1378268" y="1494473"/>
                </a:cubicBezTo>
                <a:cubicBezTo>
                  <a:pt x="1378268" y="1469708"/>
                  <a:pt x="1347788" y="1463040"/>
                  <a:pt x="1318260" y="1456373"/>
                </a:cubicBezTo>
                <a:cubicBezTo>
                  <a:pt x="1314450" y="1455420"/>
                  <a:pt x="1316355" y="1456373"/>
                  <a:pt x="1305878" y="1453515"/>
                </a:cubicBezTo>
                <a:cubicBezTo>
                  <a:pt x="1241108" y="1438275"/>
                  <a:pt x="1172528" y="1422083"/>
                  <a:pt x="1172528" y="1339215"/>
                </a:cubicBezTo>
                <a:cubicBezTo>
                  <a:pt x="1172528" y="1302068"/>
                  <a:pt x="1187768" y="1271588"/>
                  <a:pt x="1217295" y="1249680"/>
                </a:cubicBezTo>
                <a:cubicBezTo>
                  <a:pt x="1245870" y="1228725"/>
                  <a:pt x="1287780" y="1217295"/>
                  <a:pt x="1338263" y="1217295"/>
                </a:cubicBezTo>
                <a:cubicBezTo>
                  <a:pt x="1383030" y="1217295"/>
                  <a:pt x="1436370" y="1232535"/>
                  <a:pt x="1454468" y="1238250"/>
                </a:cubicBezTo>
                <a:cubicBezTo>
                  <a:pt x="1460183" y="1240155"/>
                  <a:pt x="1463040" y="1244918"/>
                  <a:pt x="1463040" y="1249680"/>
                </a:cubicBezTo>
                <a:lnTo>
                  <a:pt x="1463040" y="1323975"/>
                </a:lnTo>
                <a:cubicBezTo>
                  <a:pt x="1463040" y="1327785"/>
                  <a:pt x="1459230" y="1328738"/>
                  <a:pt x="1456373" y="1327785"/>
                </a:cubicBezTo>
                <a:cubicBezTo>
                  <a:pt x="1404938" y="1308735"/>
                  <a:pt x="1358265" y="1302068"/>
                  <a:pt x="1323975" y="1302068"/>
                </a:cubicBezTo>
                <a:cubicBezTo>
                  <a:pt x="1297305" y="1302068"/>
                  <a:pt x="1280160" y="1313498"/>
                  <a:pt x="1280160" y="1331595"/>
                </a:cubicBezTo>
                <a:cubicBezTo>
                  <a:pt x="1280160" y="1352550"/>
                  <a:pt x="1305878" y="1358265"/>
                  <a:pt x="1337310" y="1364933"/>
                </a:cubicBezTo>
                <a:cubicBezTo>
                  <a:pt x="1341120" y="1365885"/>
                  <a:pt x="1358265" y="1369695"/>
                  <a:pt x="1363028" y="1370648"/>
                </a:cubicBezTo>
                <a:cubicBezTo>
                  <a:pt x="1389698" y="1376363"/>
                  <a:pt x="1416368" y="1382078"/>
                  <a:pt x="1439228" y="1397318"/>
                </a:cubicBezTo>
                <a:cubicBezTo>
                  <a:pt x="1469708" y="1419225"/>
                  <a:pt x="1484948" y="1447800"/>
                  <a:pt x="1484948" y="1487805"/>
                </a:cubicBezTo>
                <a:close/>
                <a:moveTo>
                  <a:pt x="2065973" y="1604010"/>
                </a:moveTo>
                <a:cubicBezTo>
                  <a:pt x="2065020" y="1604010"/>
                  <a:pt x="2064068" y="1603058"/>
                  <a:pt x="2064068" y="1602105"/>
                </a:cubicBezTo>
                <a:lnTo>
                  <a:pt x="2064068" y="1376363"/>
                </a:lnTo>
                <a:cubicBezTo>
                  <a:pt x="2064068" y="1325880"/>
                  <a:pt x="2046923" y="1304925"/>
                  <a:pt x="2006918" y="1304925"/>
                </a:cubicBezTo>
                <a:cubicBezTo>
                  <a:pt x="1992630" y="1304925"/>
                  <a:pt x="1975485" y="1310640"/>
                  <a:pt x="1958340" y="1320165"/>
                </a:cubicBezTo>
                <a:cubicBezTo>
                  <a:pt x="1941195" y="1329690"/>
                  <a:pt x="1927860" y="1338263"/>
                  <a:pt x="1923098" y="1341120"/>
                </a:cubicBezTo>
                <a:cubicBezTo>
                  <a:pt x="1922145" y="1342073"/>
                  <a:pt x="1920240" y="1343978"/>
                  <a:pt x="1920240" y="1345883"/>
                </a:cubicBezTo>
                <a:lnTo>
                  <a:pt x="1920240" y="1603058"/>
                </a:lnTo>
                <a:cubicBezTo>
                  <a:pt x="1920240" y="1604010"/>
                  <a:pt x="1919288" y="1604963"/>
                  <a:pt x="1918335" y="1604963"/>
                </a:cubicBezTo>
                <a:lnTo>
                  <a:pt x="1817370" y="1604963"/>
                </a:lnTo>
                <a:cubicBezTo>
                  <a:pt x="1816418" y="1604963"/>
                  <a:pt x="1815465" y="1604010"/>
                  <a:pt x="1815465" y="1603058"/>
                </a:cubicBezTo>
                <a:lnTo>
                  <a:pt x="1815465" y="1239203"/>
                </a:lnTo>
                <a:cubicBezTo>
                  <a:pt x="1815465" y="1233488"/>
                  <a:pt x="1820228" y="1228725"/>
                  <a:pt x="1825943" y="1228725"/>
                </a:cubicBezTo>
                <a:lnTo>
                  <a:pt x="1918335" y="1228725"/>
                </a:lnTo>
                <a:cubicBezTo>
                  <a:pt x="1919288" y="1228725"/>
                  <a:pt x="1920240" y="1229678"/>
                  <a:pt x="1920240" y="1230630"/>
                </a:cubicBezTo>
                <a:lnTo>
                  <a:pt x="1920240" y="1259205"/>
                </a:lnTo>
                <a:cubicBezTo>
                  <a:pt x="1920240" y="1261110"/>
                  <a:pt x="1921193" y="1262063"/>
                  <a:pt x="1923098" y="1262063"/>
                </a:cubicBezTo>
                <a:cubicBezTo>
                  <a:pt x="1924050" y="1262063"/>
                  <a:pt x="1925003" y="1262063"/>
                  <a:pt x="1925003" y="1261110"/>
                </a:cubicBezTo>
                <a:lnTo>
                  <a:pt x="1927860" y="1259205"/>
                </a:lnTo>
                <a:cubicBezTo>
                  <a:pt x="1939290" y="1250633"/>
                  <a:pt x="1956435" y="1241108"/>
                  <a:pt x="1967865" y="1236345"/>
                </a:cubicBezTo>
                <a:cubicBezTo>
                  <a:pt x="1993582" y="1226820"/>
                  <a:pt x="2020253" y="1221105"/>
                  <a:pt x="2042160" y="1221105"/>
                </a:cubicBezTo>
                <a:cubicBezTo>
                  <a:pt x="2124075" y="1221105"/>
                  <a:pt x="2167890" y="1268730"/>
                  <a:pt x="2167890" y="1358265"/>
                </a:cubicBezTo>
                <a:lnTo>
                  <a:pt x="2167890" y="1603058"/>
                </a:lnTo>
                <a:cubicBezTo>
                  <a:pt x="2167890" y="1604010"/>
                  <a:pt x="2166938" y="1604963"/>
                  <a:pt x="2165985" y="1604963"/>
                </a:cubicBezTo>
                <a:lnTo>
                  <a:pt x="2065973" y="1604963"/>
                </a:lnTo>
                <a:close/>
                <a:moveTo>
                  <a:pt x="2251710" y="1604010"/>
                </a:moveTo>
                <a:cubicBezTo>
                  <a:pt x="2250758" y="1604010"/>
                  <a:pt x="2249805" y="1603058"/>
                  <a:pt x="2249805" y="1602105"/>
                </a:cubicBezTo>
                <a:lnTo>
                  <a:pt x="2249805" y="1044893"/>
                </a:lnTo>
                <a:cubicBezTo>
                  <a:pt x="2249805" y="1042988"/>
                  <a:pt x="2249805" y="1042035"/>
                  <a:pt x="2252663" y="1042035"/>
                </a:cubicBezTo>
                <a:cubicBezTo>
                  <a:pt x="2259330" y="1042035"/>
                  <a:pt x="2315528" y="1077278"/>
                  <a:pt x="2333625" y="1097280"/>
                </a:cubicBezTo>
                <a:cubicBezTo>
                  <a:pt x="2346960" y="1112520"/>
                  <a:pt x="2354580" y="1132523"/>
                  <a:pt x="2354580" y="1152525"/>
                </a:cubicBezTo>
                <a:lnTo>
                  <a:pt x="2354580" y="1601153"/>
                </a:lnTo>
                <a:cubicBezTo>
                  <a:pt x="2354580" y="1602105"/>
                  <a:pt x="2353628" y="1603058"/>
                  <a:pt x="2352675" y="1603058"/>
                </a:cubicBezTo>
                <a:lnTo>
                  <a:pt x="2251710" y="1603058"/>
                </a:lnTo>
                <a:close/>
                <a:moveTo>
                  <a:pt x="939165" y="635318"/>
                </a:moveTo>
                <a:cubicBezTo>
                  <a:pt x="937260" y="635318"/>
                  <a:pt x="935355" y="636270"/>
                  <a:pt x="933450" y="637223"/>
                </a:cubicBezTo>
                <a:cubicBezTo>
                  <a:pt x="916305" y="649605"/>
                  <a:pt x="901065" y="664845"/>
                  <a:pt x="888683" y="681038"/>
                </a:cubicBezTo>
                <a:cubicBezTo>
                  <a:pt x="884872" y="685800"/>
                  <a:pt x="884872" y="690563"/>
                  <a:pt x="888683" y="695325"/>
                </a:cubicBezTo>
                <a:cubicBezTo>
                  <a:pt x="901065" y="711518"/>
                  <a:pt x="915353" y="725805"/>
                  <a:pt x="930593" y="737235"/>
                </a:cubicBezTo>
                <a:cubicBezTo>
                  <a:pt x="933450" y="739140"/>
                  <a:pt x="936308" y="741045"/>
                  <a:pt x="939165" y="741045"/>
                </a:cubicBezTo>
                <a:cubicBezTo>
                  <a:pt x="942022" y="741045"/>
                  <a:pt x="944880" y="740093"/>
                  <a:pt x="947738" y="737235"/>
                </a:cubicBezTo>
                <a:cubicBezTo>
                  <a:pt x="962978" y="724853"/>
                  <a:pt x="977265" y="710565"/>
                  <a:pt x="989647" y="695325"/>
                </a:cubicBezTo>
                <a:cubicBezTo>
                  <a:pt x="993458" y="690563"/>
                  <a:pt x="993458" y="684848"/>
                  <a:pt x="989647" y="681038"/>
                </a:cubicBezTo>
                <a:cubicBezTo>
                  <a:pt x="977265" y="664845"/>
                  <a:pt x="962025" y="649605"/>
                  <a:pt x="945833" y="637223"/>
                </a:cubicBezTo>
                <a:cubicBezTo>
                  <a:pt x="942975" y="636270"/>
                  <a:pt x="941070" y="635318"/>
                  <a:pt x="939165" y="635318"/>
                </a:cubicBezTo>
                <a:lnTo>
                  <a:pt x="939165" y="635318"/>
                </a:lnTo>
                <a:close/>
                <a:moveTo>
                  <a:pt x="939165" y="772478"/>
                </a:moveTo>
                <a:cubicBezTo>
                  <a:pt x="930593" y="772478"/>
                  <a:pt x="922020" y="772478"/>
                  <a:pt x="913447" y="773430"/>
                </a:cubicBezTo>
                <a:lnTo>
                  <a:pt x="913447" y="773430"/>
                </a:lnTo>
                <a:cubicBezTo>
                  <a:pt x="910590" y="773430"/>
                  <a:pt x="907733" y="774382"/>
                  <a:pt x="904875" y="777240"/>
                </a:cubicBezTo>
                <a:cubicBezTo>
                  <a:pt x="902018" y="780098"/>
                  <a:pt x="900113" y="785813"/>
                  <a:pt x="900113" y="788670"/>
                </a:cubicBezTo>
                <a:cubicBezTo>
                  <a:pt x="900113" y="805815"/>
                  <a:pt x="902018" y="898207"/>
                  <a:pt x="902018" y="956310"/>
                </a:cubicBezTo>
                <a:cubicBezTo>
                  <a:pt x="902018" y="984885"/>
                  <a:pt x="902970" y="1004888"/>
                  <a:pt x="902970" y="1005840"/>
                </a:cubicBezTo>
                <a:cubicBezTo>
                  <a:pt x="902970" y="1009650"/>
                  <a:pt x="905828" y="1019175"/>
                  <a:pt x="915353" y="1019175"/>
                </a:cubicBezTo>
                <a:lnTo>
                  <a:pt x="961072" y="1019175"/>
                </a:lnTo>
                <a:cubicBezTo>
                  <a:pt x="967740" y="1019175"/>
                  <a:pt x="972503" y="1014413"/>
                  <a:pt x="973455" y="1006793"/>
                </a:cubicBezTo>
                <a:cubicBezTo>
                  <a:pt x="973455" y="1006793"/>
                  <a:pt x="973455" y="1006793"/>
                  <a:pt x="973455" y="1005840"/>
                </a:cubicBezTo>
                <a:cubicBezTo>
                  <a:pt x="973455" y="1004888"/>
                  <a:pt x="974408" y="925830"/>
                  <a:pt x="976313" y="791528"/>
                </a:cubicBezTo>
                <a:lnTo>
                  <a:pt x="976313" y="788670"/>
                </a:lnTo>
                <a:cubicBezTo>
                  <a:pt x="976313" y="785813"/>
                  <a:pt x="975360" y="781050"/>
                  <a:pt x="971550" y="777240"/>
                </a:cubicBezTo>
                <a:cubicBezTo>
                  <a:pt x="969645" y="775335"/>
                  <a:pt x="966788" y="773430"/>
                  <a:pt x="962978" y="773430"/>
                </a:cubicBezTo>
                <a:cubicBezTo>
                  <a:pt x="956310" y="772478"/>
                  <a:pt x="947738" y="772478"/>
                  <a:pt x="939165" y="772478"/>
                </a:cubicBezTo>
                <a:lnTo>
                  <a:pt x="939165" y="772478"/>
                </a:lnTo>
                <a:close/>
                <a:moveTo>
                  <a:pt x="1055370" y="784860"/>
                </a:moveTo>
                <a:cubicBezTo>
                  <a:pt x="1044893" y="784860"/>
                  <a:pt x="1036320" y="790575"/>
                  <a:pt x="1031558" y="801053"/>
                </a:cubicBezTo>
                <a:cubicBezTo>
                  <a:pt x="1018222" y="830580"/>
                  <a:pt x="1008697" y="857250"/>
                  <a:pt x="999172" y="890588"/>
                </a:cubicBezTo>
                <a:cubicBezTo>
                  <a:pt x="998220" y="894398"/>
                  <a:pt x="998220" y="897255"/>
                  <a:pt x="1000125" y="900113"/>
                </a:cubicBezTo>
                <a:cubicBezTo>
                  <a:pt x="1001078" y="902018"/>
                  <a:pt x="1003935" y="903923"/>
                  <a:pt x="1008697" y="903923"/>
                </a:cubicBezTo>
                <a:lnTo>
                  <a:pt x="1043940" y="903923"/>
                </a:lnTo>
                <a:cubicBezTo>
                  <a:pt x="1052513" y="903923"/>
                  <a:pt x="1055370" y="900113"/>
                  <a:pt x="1056323" y="896303"/>
                </a:cubicBezTo>
                <a:cubicBezTo>
                  <a:pt x="1062038" y="876300"/>
                  <a:pt x="1066800" y="864870"/>
                  <a:pt x="1073468" y="848678"/>
                </a:cubicBezTo>
                <a:cubicBezTo>
                  <a:pt x="1073468" y="848678"/>
                  <a:pt x="1074420" y="847725"/>
                  <a:pt x="1076325" y="847725"/>
                </a:cubicBezTo>
                <a:cubicBezTo>
                  <a:pt x="1077278" y="847725"/>
                  <a:pt x="1078230" y="847725"/>
                  <a:pt x="1079183" y="847725"/>
                </a:cubicBezTo>
                <a:lnTo>
                  <a:pt x="1097280" y="853440"/>
                </a:lnTo>
                <a:cubicBezTo>
                  <a:pt x="1099185" y="854393"/>
                  <a:pt x="1101090" y="856298"/>
                  <a:pt x="1101090" y="857250"/>
                </a:cubicBezTo>
                <a:cubicBezTo>
                  <a:pt x="1102043" y="860107"/>
                  <a:pt x="1102995" y="863918"/>
                  <a:pt x="1102043" y="866775"/>
                </a:cubicBezTo>
                <a:cubicBezTo>
                  <a:pt x="1102043" y="867728"/>
                  <a:pt x="1065848" y="968693"/>
                  <a:pt x="1054418" y="1002982"/>
                </a:cubicBezTo>
                <a:cubicBezTo>
                  <a:pt x="1052513" y="1007745"/>
                  <a:pt x="1053465" y="1012507"/>
                  <a:pt x="1055370" y="1015365"/>
                </a:cubicBezTo>
                <a:cubicBezTo>
                  <a:pt x="1057275" y="1018223"/>
                  <a:pt x="1061085" y="1019175"/>
                  <a:pt x="1065848" y="1019175"/>
                </a:cubicBezTo>
                <a:lnTo>
                  <a:pt x="1109663" y="1019175"/>
                </a:lnTo>
                <a:cubicBezTo>
                  <a:pt x="1117283" y="1019175"/>
                  <a:pt x="1122045" y="1016318"/>
                  <a:pt x="1123950" y="1010603"/>
                </a:cubicBezTo>
                <a:cubicBezTo>
                  <a:pt x="1125855" y="1005840"/>
                  <a:pt x="1127760" y="1000125"/>
                  <a:pt x="1130618" y="992505"/>
                </a:cubicBezTo>
                <a:lnTo>
                  <a:pt x="1131570" y="989648"/>
                </a:lnTo>
                <a:cubicBezTo>
                  <a:pt x="1144905" y="952500"/>
                  <a:pt x="1164908" y="896303"/>
                  <a:pt x="1168718" y="881063"/>
                </a:cubicBezTo>
                <a:cubicBezTo>
                  <a:pt x="1176338" y="854393"/>
                  <a:pt x="1178243" y="824865"/>
                  <a:pt x="1138238" y="809625"/>
                </a:cubicBezTo>
                <a:cubicBezTo>
                  <a:pt x="1125855" y="804863"/>
                  <a:pt x="1113473" y="801053"/>
                  <a:pt x="1102995" y="797243"/>
                </a:cubicBezTo>
                <a:cubicBezTo>
                  <a:pt x="1088708" y="793432"/>
                  <a:pt x="1075373" y="789623"/>
                  <a:pt x="1063943" y="786765"/>
                </a:cubicBezTo>
                <a:lnTo>
                  <a:pt x="1062038" y="786765"/>
                </a:lnTo>
                <a:cubicBezTo>
                  <a:pt x="1060133" y="784860"/>
                  <a:pt x="1057275" y="784860"/>
                  <a:pt x="1055370" y="784860"/>
                </a:cubicBezTo>
                <a:lnTo>
                  <a:pt x="1055370" y="784860"/>
                </a:lnTo>
                <a:close/>
                <a:moveTo>
                  <a:pt x="823913" y="784860"/>
                </a:moveTo>
                <a:cubicBezTo>
                  <a:pt x="821055" y="784860"/>
                  <a:pt x="819150" y="784860"/>
                  <a:pt x="816293" y="785813"/>
                </a:cubicBezTo>
                <a:lnTo>
                  <a:pt x="814388" y="785813"/>
                </a:lnTo>
                <a:cubicBezTo>
                  <a:pt x="802958" y="788670"/>
                  <a:pt x="789622" y="791528"/>
                  <a:pt x="775335" y="796290"/>
                </a:cubicBezTo>
                <a:cubicBezTo>
                  <a:pt x="764858" y="799148"/>
                  <a:pt x="752475" y="803910"/>
                  <a:pt x="740093" y="808673"/>
                </a:cubicBezTo>
                <a:cubicBezTo>
                  <a:pt x="700088" y="822960"/>
                  <a:pt x="702945" y="852488"/>
                  <a:pt x="709613" y="880110"/>
                </a:cubicBezTo>
                <a:cubicBezTo>
                  <a:pt x="713423" y="895350"/>
                  <a:pt x="732473" y="947738"/>
                  <a:pt x="748665" y="991553"/>
                </a:cubicBezTo>
                <a:cubicBezTo>
                  <a:pt x="751523" y="999173"/>
                  <a:pt x="753428" y="1005840"/>
                  <a:pt x="755333" y="1009650"/>
                </a:cubicBezTo>
                <a:cubicBezTo>
                  <a:pt x="757238" y="1015365"/>
                  <a:pt x="762000" y="1018223"/>
                  <a:pt x="769620" y="1018223"/>
                </a:cubicBezTo>
                <a:lnTo>
                  <a:pt x="813435" y="1018223"/>
                </a:lnTo>
                <a:cubicBezTo>
                  <a:pt x="819150" y="1018223"/>
                  <a:pt x="822008" y="1016318"/>
                  <a:pt x="823913" y="1014413"/>
                </a:cubicBezTo>
                <a:cubicBezTo>
                  <a:pt x="825818" y="1011555"/>
                  <a:pt x="826770" y="1007745"/>
                  <a:pt x="824865" y="1002030"/>
                </a:cubicBezTo>
                <a:cubicBezTo>
                  <a:pt x="814388" y="968693"/>
                  <a:pt x="777240" y="866775"/>
                  <a:pt x="777240" y="865823"/>
                </a:cubicBezTo>
                <a:cubicBezTo>
                  <a:pt x="776288" y="862965"/>
                  <a:pt x="776288" y="859155"/>
                  <a:pt x="778193" y="856298"/>
                </a:cubicBezTo>
                <a:cubicBezTo>
                  <a:pt x="779145" y="855345"/>
                  <a:pt x="780097" y="853440"/>
                  <a:pt x="782003" y="852488"/>
                </a:cubicBezTo>
                <a:lnTo>
                  <a:pt x="800100" y="846773"/>
                </a:lnTo>
                <a:cubicBezTo>
                  <a:pt x="801053" y="846773"/>
                  <a:pt x="802005" y="846773"/>
                  <a:pt x="802005" y="846773"/>
                </a:cubicBezTo>
                <a:cubicBezTo>
                  <a:pt x="803910" y="846773"/>
                  <a:pt x="804863" y="847725"/>
                  <a:pt x="804863" y="847725"/>
                </a:cubicBezTo>
                <a:cubicBezTo>
                  <a:pt x="812483" y="864870"/>
                  <a:pt x="816293" y="876300"/>
                  <a:pt x="822008" y="895350"/>
                </a:cubicBezTo>
                <a:cubicBezTo>
                  <a:pt x="822960" y="899160"/>
                  <a:pt x="825818" y="902970"/>
                  <a:pt x="834390" y="902970"/>
                </a:cubicBezTo>
                <a:lnTo>
                  <a:pt x="869633" y="902970"/>
                </a:lnTo>
                <a:cubicBezTo>
                  <a:pt x="873443" y="902970"/>
                  <a:pt x="876300" y="902018"/>
                  <a:pt x="878205" y="899160"/>
                </a:cubicBezTo>
                <a:cubicBezTo>
                  <a:pt x="880110" y="897255"/>
                  <a:pt x="880110" y="893445"/>
                  <a:pt x="879158" y="889635"/>
                </a:cubicBezTo>
                <a:cubicBezTo>
                  <a:pt x="869633" y="856298"/>
                  <a:pt x="860108" y="829628"/>
                  <a:pt x="846772" y="800100"/>
                </a:cubicBezTo>
                <a:cubicBezTo>
                  <a:pt x="844868" y="796290"/>
                  <a:pt x="838200" y="784860"/>
                  <a:pt x="823913" y="784860"/>
                </a:cubicBezTo>
                <a:lnTo>
                  <a:pt x="823913" y="784860"/>
                </a:lnTo>
                <a:close/>
                <a:moveTo>
                  <a:pt x="1102043" y="1051560"/>
                </a:moveTo>
                <a:lnTo>
                  <a:pt x="778193" y="1051560"/>
                </a:lnTo>
                <a:cubicBezTo>
                  <a:pt x="766763" y="1051560"/>
                  <a:pt x="757238" y="1061085"/>
                  <a:pt x="757238" y="1072515"/>
                </a:cubicBezTo>
                <a:lnTo>
                  <a:pt x="757238" y="1113473"/>
                </a:lnTo>
                <a:cubicBezTo>
                  <a:pt x="757238" y="1125855"/>
                  <a:pt x="762953" y="1132523"/>
                  <a:pt x="774383" y="1132523"/>
                </a:cubicBezTo>
                <a:lnTo>
                  <a:pt x="1106805" y="1132523"/>
                </a:lnTo>
                <a:cubicBezTo>
                  <a:pt x="1118235" y="1132523"/>
                  <a:pt x="1123950" y="1126808"/>
                  <a:pt x="1123950" y="1113473"/>
                </a:cubicBezTo>
                <a:lnTo>
                  <a:pt x="1123950" y="1072515"/>
                </a:lnTo>
                <a:cubicBezTo>
                  <a:pt x="1122998" y="1061085"/>
                  <a:pt x="1112520" y="1051560"/>
                  <a:pt x="1102043" y="1051560"/>
                </a:cubicBezTo>
                <a:lnTo>
                  <a:pt x="1102043" y="1051560"/>
                </a:lnTo>
                <a:close/>
                <a:moveTo>
                  <a:pt x="2661285" y="1366838"/>
                </a:moveTo>
                <a:cubicBezTo>
                  <a:pt x="2661285" y="1139190"/>
                  <a:pt x="2233613" y="745808"/>
                  <a:pt x="1778318" y="494348"/>
                </a:cubicBezTo>
                <a:cubicBezTo>
                  <a:pt x="1253490" y="204788"/>
                  <a:pt x="656273" y="34290"/>
                  <a:pt x="459105" y="142875"/>
                </a:cubicBezTo>
                <a:cubicBezTo>
                  <a:pt x="234315" y="266700"/>
                  <a:pt x="111443" y="884873"/>
                  <a:pt x="111443" y="1366838"/>
                </a:cubicBezTo>
                <a:cubicBezTo>
                  <a:pt x="111443" y="1852613"/>
                  <a:pt x="227648" y="2463165"/>
                  <a:pt x="459105" y="2590800"/>
                </a:cubicBezTo>
                <a:cubicBezTo>
                  <a:pt x="668655" y="2706053"/>
                  <a:pt x="1241108" y="2535555"/>
                  <a:pt x="1779270" y="2239328"/>
                </a:cubicBezTo>
                <a:cubicBezTo>
                  <a:pt x="2241233" y="1985010"/>
                  <a:pt x="2661285" y="1605915"/>
                  <a:pt x="2661285" y="1366838"/>
                </a:cubicBezTo>
                <a:close/>
                <a:moveTo>
                  <a:pt x="616268" y="0"/>
                </a:moveTo>
                <a:cubicBezTo>
                  <a:pt x="947738" y="0"/>
                  <a:pt x="1479233" y="209550"/>
                  <a:pt x="1831658" y="403860"/>
                </a:cubicBezTo>
                <a:cubicBezTo>
                  <a:pt x="2033588" y="515303"/>
                  <a:pt x="2263140" y="678180"/>
                  <a:pt x="2440305" y="842963"/>
                </a:cubicBezTo>
                <a:cubicBezTo>
                  <a:pt x="2610803" y="1001078"/>
                  <a:pt x="2770823" y="1199198"/>
                  <a:pt x="2771775" y="1366838"/>
                </a:cubicBezTo>
                <a:cubicBezTo>
                  <a:pt x="2771775" y="1524953"/>
                  <a:pt x="2643188" y="1710690"/>
                  <a:pt x="2435543" y="1901190"/>
                </a:cubicBezTo>
                <a:cubicBezTo>
                  <a:pt x="2260283" y="2062163"/>
                  <a:pt x="2031682" y="2220278"/>
                  <a:pt x="1831658" y="2330768"/>
                </a:cubicBezTo>
                <a:cubicBezTo>
                  <a:pt x="1490663" y="2518410"/>
                  <a:pt x="970597" y="2738438"/>
                  <a:pt x="627698" y="2738438"/>
                </a:cubicBezTo>
                <a:cubicBezTo>
                  <a:pt x="534353" y="2738438"/>
                  <a:pt x="458153" y="2722245"/>
                  <a:pt x="400050" y="2690813"/>
                </a:cubicBezTo>
                <a:cubicBezTo>
                  <a:pt x="248602" y="2606993"/>
                  <a:pt x="151448" y="2382203"/>
                  <a:pt x="93345" y="2161223"/>
                </a:cubicBezTo>
                <a:cubicBezTo>
                  <a:pt x="31432" y="1924050"/>
                  <a:pt x="0" y="1639253"/>
                  <a:pt x="0" y="1367790"/>
                </a:cubicBezTo>
                <a:cubicBezTo>
                  <a:pt x="0" y="1102043"/>
                  <a:pt x="34290" y="816293"/>
                  <a:pt x="94298" y="583883"/>
                </a:cubicBezTo>
                <a:cubicBezTo>
                  <a:pt x="166688" y="300990"/>
                  <a:pt x="272415" y="114300"/>
                  <a:pt x="400050" y="43815"/>
                </a:cubicBezTo>
                <a:cubicBezTo>
                  <a:pt x="454342" y="14288"/>
                  <a:pt x="526733" y="0"/>
                  <a:pt x="616268" y="0"/>
                </a:cubicBezTo>
                <a:lnTo>
                  <a:pt x="616268" y="0"/>
                </a:lnTo>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Arial"/>
              <a:ea typeface="+mn-ea"/>
              <a:cs typeface="+mn-cs"/>
            </a:endParaRPr>
          </a:p>
        </p:txBody>
      </p:sp>
      <p:sp>
        <p:nvSpPr>
          <p:cNvPr id="84" name="Tijdelijke aanduiding voor tekst 88">
            <a:extLst>
              <a:ext uri="{FF2B5EF4-FFF2-40B4-BE49-F238E27FC236}">
                <a16:creationId xmlns:a16="http://schemas.microsoft.com/office/drawing/2014/main" id="{CF9D333D-5178-D3F3-1B48-FF24CD68C8E9}"/>
              </a:ext>
            </a:extLst>
          </p:cNvPr>
          <p:cNvSpPr>
            <a:spLocks noGrp="1"/>
          </p:cNvSpPr>
          <p:nvPr>
            <p:ph type="body" sz="quarter" idx="25" hasCustomPrompt="1"/>
          </p:nvPr>
        </p:nvSpPr>
        <p:spPr>
          <a:xfrm>
            <a:off x="719137" y="884018"/>
            <a:ext cx="10756901" cy="288000"/>
          </a:xfrm>
        </p:spPr>
        <p:txBody>
          <a:bodyPr/>
          <a:lstStyle>
            <a:lvl1pPr marL="0" indent="0">
              <a:buFontTx/>
              <a:buNone/>
              <a:defRPr sz="1800" b="1">
                <a:solidFill>
                  <a:schemeClr val="accent1"/>
                </a:solidFill>
                <a:latin typeface="+mj-lt"/>
              </a:defRPr>
            </a:lvl1pPr>
          </a:lstStyle>
          <a:p>
            <a:r>
              <a:rPr lang="nl-NL" err="1"/>
              <a:t>Subkop</a:t>
            </a:r>
            <a:r>
              <a:rPr lang="nl-NL"/>
              <a:t> (optioneel)</a:t>
            </a:r>
          </a:p>
        </p:txBody>
      </p:sp>
    </p:spTree>
    <p:extLst>
      <p:ext uri="{BB962C8B-B14F-4D97-AF65-F5344CB8AC3E}">
        <p14:creationId xmlns:p14="http://schemas.microsoft.com/office/powerpoint/2010/main" val="3741655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eeld met tekstbox groot">
    <p:bg>
      <p:bgPr>
        <a:solidFill>
          <a:srgbClr val="ADB5C5"/>
        </a:solidFill>
        <a:effectLst/>
      </p:bgPr>
    </p:bg>
    <p:spTree>
      <p:nvGrpSpPr>
        <p:cNvPr id="1" name=""/>
        <p:cNvGrpSpPr/>
        <p:nvPr/>
      </p:nvGrpSpPr>
      <p:grpSpPr>
        <a:xfrm>
          <a:off x="0" y="0"/>
          <a:ext cx="0" cy="0"/>
          <a:chOff x="0" y="0"/>
          <a:chExt cx="0" cy="0"/>
        </a:xfrm>
      </p:grpSpPr>
      <p:sp>
        <p:nvSpPr>
          <p:cNvPr id="12" name="Rectangle 11"/>
          <p:cNvSpPr/>
          <p:nvPr userDrawn="1"/>
        </p:nvSpPr>
        <p:spPr>
          <a:xfrm>
            <a:off x="0" y="0"/>
            <a:ext cx="12192000" cy="129902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Footer Placeholder 2"/>
          <p:cNvSpPr>
            <a:spLocks noGrp="1"/>
          </p:cNvSpPr>
          <p:nvPr>
            <p:ph type="ftr" sz="quarter" idx="16"/>
          </p:nvPr>
        </p:nvSpPr>
        <p:spPr/>
        <p:txBody>
          <a:bodyPr/>
          <a:lstStyle/>
          <a:p>
            <a:r>
              <a:rPr lang="nl-NL"/>
              <a:t>PostNL voettekst</a:t>
            </a:r>
          </a:p>
        </p:txBody>
      </p:sp>
      <p:sp>
        <p:nvSpPr>
          <p:cNvPr id="7" name="Slide Number Placeholder 6"/>
          <p:cNvSpPr>
            <a:spLocks noGrp="1"/>
          </p:cNvSpPr>
          <p:nvPr>
            <p:ph type="sldNum" sz="quarter" idx="17"/>
          </p:nvPr>
        </p:nvSpPr>
        <p:spPr/>
        <p:txBody>
          <a:bodyPr/>
          <a:lstStyle/>
          <a:p>
            <a:fld id="{A1BC669C-0B8C-4F49-8D0F-E81255670A63}" type="slidenum">
              <a:rPr lang="nl-NL" smtClean="0"/>
              <a:pPr/>
              <a:t>‹nr.›</a:t>
            </a:fld>
            <a:endParaRPr lang="nl-NL"/>
          </a:p>
        </p:txBody>
      </p:sp>
      <p:sp>
        <p:nvSpPr>
          <p:cNvPr id="8" name="Date Placeholder 7"/>
          <p:cNvSpPr>
            <a:spLocks noGrp="1"/>
          </p:cNvSpPr>
          <p:nvPr>
            <p:ph type="dt" sz="half" idx="18"/>
          </p:nvPr>
        </p:nvSpPr>
        <p:spPr/>
        <p:txBody>
          <a:bodyPr/>
          <a:lstStyle/>
          <a:p>
            <a:r>
              <a:rPr lang="nl-NL"/>
              <a:t>Den Haag • 00 maand jaar</a:t>
            </a:r>
          </a:p>
        </p:txBody>
      </p:sp>
      <p:sp>
        <p:nvSpPr>
          <p:cNvPr id="17" name="Text Placeholder 16"/>
          <p:cNvSpPr>
            <a:spLocks noGrp="1"/>
          </p:cNvSpPr>
          <p:nvPr>
            <p:ph type="body" sz="quarter" idx="14" hasCustomPrompt="1"/>
          </p:nvPr>
        </p:nvSpPr>
        <p:spPr bwMode="gray">
          <a:xfrm>
            <a:off x="676053" y="2566988"/>
            <a:ext cx="5626099" cy="3275013"/>
          </a:xfrm>
          <a:custGeom>
            <a:avLst/>
            <a:gdLst>
              <a:gd name="connsiteX0" fmla="*/ 144152 w 5626099"/>
              <a:gd name="connsiteY0" fmla="*/ 0 h 3275013"/>
              <a:gd name="connsiteX1" fmla="*/ 5478772 w 5626099"/>
              <a:gd name="connsiteY1" fmla="*/ 0 h 3275013"/>
              <a:gd name="connsiteX2" fmla="*/ 5626099 w 5626099"/>
              <a:gd name="connsiteY2" fmla="*/ 147604 h 3275013"/>
              <a:gd name="connsiteX3" fmla="*/ 5626099 w 5626099"/>
              <a:gd name="connsiteY3" fmla="*/ 2993771 h 3275013"/>
              <a:gd name="connsiteX4" fmla="*/ 5626099 w 5626099"/>
              <a:gd name="connsiteY4" fmla="*/ 3275013 h 3275013"/>
              <a:gd name="connsiteX5" fmla="*/ 5580900 w 5626099"/>
              <a:gd name="connsiteY5" fmla="*/ 3275013 h 3275013"/>
              <a:gd name="connsiteX6" fmla="*/ 4959101 w 5626099"/>
              <a:gd name="connsiteY6" fmla="*/ 3275013 h 3275013"/>
              <a:gd name="connsiteX7" fmla="*/ 4824413 w 5626099"/>
              <a:gd name="connsiteY7" fmla="*/ 3275013 h 3275013"/>
              <a:gd name="connsiteX8" fmla="*/ 4823271 w 5626099"/>
              <a:gd name="connsiteY8" fmla="*/ 3275013 h 3275013"/>
              <a:gd name="connsiteX9" fmla="*/ 4815278 w 5626099"/>
              <a:gd name="connsiteY9" fmla="*/ 3275013 h 3275013"/>
              <a:gd name="connsiteX10" fmla="*/ 4793583 w 5626099"/>
              <a:gd name="connsiteY10" fmla="*/ 3275013 h 3275013"/>
              <a:gd name="connsiteX11" fmla="*/ 4751334 w 5626099"/>
              <a:gd name="connsiteY11" fmla="*/ 3275013 h 3275013"/>
              <a:gd name="connsiteX12" fmla="*/ 4717444 w 5626099"/>
              <a:gd name="connsiteY12" fmla="*/ 3275013 h 3275013"/>
              <a:gd name="connsiteX13" fmla="*/ 4681680 w 5626099"/>
              <a:gd name="connsiteY13" fmla="*/ 3275013 h 3275013"/>
              <a:gd name="connsiteX14" fmla="*/ 4577771 w 5626099"/>
              <a:gd name="connsiteY14" fmla="*/ 3275013 h 3275013"/>
              <a:gd name="connsiteX15" fmla="*/ 4457478 w 5626099"/>
              <a:gd name="connsiteY15" fmla="*/ 3275013 h 3275013"/>
              <a:gd name="connsiteX16" fmla="*/ 4432754 w 5626099"/>
              <a:gd name="connsiteY16" fmla="*/ 3275013 h 3275013"/>
              <a:gd name="connsiteX17" fmla="*/ 4342689 w 5626099"/>
              <a:gd name="connsiteY17" fmla="*/ 3275013 h 3275013"/>
              <a:gd name="connsiteX18" fmla="*/ 4239779 w 5626099"/>
              <a:gd name="connsiteY18" fmla="*/ 3275013 h 3275013"/>
              <a:gd name="connsiteX19" fmla="*/ 4178533 w 5626099"/>
              <a:gd name="connsiteY19" fmla="*/ 3275013 h 3275013"/>
              <a:gd name="connsiteX20" fmla="*/ 4123166 w 5626099"/>
              <a:gd name="connsiteY20" fmla="*/ 3275013 h 3275013"/>
              <a:gd name="connsiteX21" fmla="*/ 3991994 w 5626099"/>
              <a:gd name="connsiteY21" fmla="*/ 3275013 h 3275013"/>
              <a:gd name="connsiteX22" fmla="*/ 3879942 w 5626099"/>
              <a:gd name="connsiteY22" fmla="*/ 3275013 h 3275013"/>
              <a:gd name="connsiteX23" fmla="*/ 3845407 w 5626099"/>
              <a:gd name="connsiteY23" fmla="*/ 3275013 h 3275013"/>
              <a:gd name="connsiteX24" fmla="*/ 3682549 w 5626099"/>
              <a:gd name="connsiteY24" fmla="*/ 3275013 h 3275013"/>
              <a:gd name="connsiteX25" fmla="*/ 3561035 w 5626099"/>
              <a:gd name="connsiteY25" fmla="*/ 3275013 h 3275013"/>
              <a:gd name="connsiteX26" fmla="*/ 3502563 w 5626099"/>
              <a:gd name="connsiteY26" fmla="*/ 3275013 h 3275013"/>
              <a:gd name="connsiteX27" fmla="*/ 3304592 w 5626099"/>
              <a:gd name="connsiteY27" fmla="*/ 3275013 h 3275013"/>
              <a:gd name="connsiteX28" fmla="*/ 3221144 w 5626099"/>
              <a:gd name="connsiteY28" fmla="*/ 3275013 h 3275013"/>
              <a:gd name="connsiteX29" fmla="*/ 3087780 w 5626099"/>
              <a:gd name="connsiteY29" fmla="*/ 3275013 h 3275013"/>
              <a:gd name="connsiteX30" fmla="*/ 2859601 w 5626099"/>
              <a:gd name="connsiteY30" fmla="*/ 3275013 h 3275013"/>
              <a:gd name="connsiteX31" fmla="*/ 2851272 w 5626099"/>
              <a:gd name="connsiteY31" fmla="*/ 3275013 h 3275013"/>
              <a:gd name="connsiteX32" fmla="*/ 2594210 w 5626099"/>
              <a:gd name="connsiteY32" fmla="*/ 3275013 h 3275013"/>
              <a:gd name="connsiteX33" fmla="*/ 2475736 w 5626099"/>
              <a:gd name="connsiteY33" fmla="*/ 3275013 h 3275013"/>
              <a:gd name="connsiteX34" fmla="*/ 2315737 w 5626099"/>
              <a:gd name="connsiteY34" fmla="*/ 3275013 h 3275013"/>
              <a:gd name="connsiteX35" fmla="*/ 2068882 w 5626099"/>
              <a:gd name="connsiteY35" fmla="*/ 3275013 h 3275013"/>
              <a:gd name="connsiteX36" fmla="*/ 2014999 w 5626099"/>
              <a:gd name="connsiteY36" fmla="*/ 3275013 h 3275013"/>
              <a:gd name="connsiteX37" fmla="*/ 1691138 w 5626099"/>
              <a:gd name="connsiteY37" fmla="*/ 3275013 h 3275013"/>
              <a:gd name="connsiteX38" fmla="*/ 1638369 w 5626099"/>
              <a:gd name="connsiteY38" fmla="*/ 3275013 h 3275013"/>
              <a:gd name="connsiteX39" fmla="*/ 1343297 w 5626099"/>
              <a:gd name="connsiteY39" fmla="*/ 3275013 h 3275013"/>
              <a:gd name="connsiteX40" fmla="*/ 1183529 w 5626099"/>
              <a:gd name="connsiteY40" fmla="*/ 3275013 h 3275013"/>
              <a:gd name="connsiteX41" fmla="*/ 970621 w 5626099"/>
              <a:gd name="connsiteY41" fmla="*/ 3275013 h 3275013"/>
              <a:gd name="connsiteX42" fmla="*/ 703693 w 5626099"/>
              <a:gd name="connsiteY42" fmla="*/ 3275013 h 3275013"/>
              <a:gd name="connsiteX43" fmla="*/ 572253 w 5626099"/>
              <a:gd name="connsiteY43" fmla="*/ 3275013 h 3275013"/>
              <a:gd name="connsiteX44" fmla="*/ 198193 w 5626099"/>
              <a:gd name="connsiteY44" fmla="*/ 3275013 h 3275013"/>
              <a:gd name="connsiteX45" fmla="*/ 147337 w 5626099"/>
              <a:gd name="connsiteY45" fmla="*/ 3275013 h 3275013"/>
              <a:gd name="connsiteX46" fmla="*/ 0 w 5626099"/>
              <a:gd name="connsiteY46" fmla="*/ 3127412 h 3275013"/>
              <a:gd name="connsiteX47" fmla="*/ 0 w 5626099"/>
              <a:gd name="connsiteY47" fmla="*/ 3089386 h 3275013"/>
              <a:gd name="connsiteX48" fmla="*/ 0 w 5626099"/>
              <a:gd name="connsiteY48" fmla="*/ 3076690 h 3275013"/>
              <a:gd name="connsiteX49" fmla="*/ 0 w 5626099"/>
              <a:gd name="connsiteY49" fmla="*/ 3057451 h 3275013"/>
              <a:gd name="connsiteX50" fmla="*/ 0 w 5626099"/>
              <a:gd name="connsiteY50" fmla="*/ 3053141 h 3275013"/>
              <a:gd name="connsiteX51" fmla="*/ 0 w 5626099"/>
              <a:gd name="connsiteY51" fmla="*/ 3031087 h 3275013"/>
              <a:gd name="connsiteX52" fmla="*/ 0 w 5626099"/>
              <a:gd name="connsiteY52" fmla="*/ 2999072 h 3275013"/>
              <a:gd name="connsiteX53" fmla="*/ 0 w 5626099"/>
              <a:gd name="connsiteY53" fmla="*/ 2987620 h 3275013"/>
              <a:gd name="connsiteX54" fmla="*/ 0 w 5626099"/>
              <a:gd name="connsiteY54" fmla="*/ 2923613 h 3275013"/>
              <a:gd name="connsiteX55" fmla="*/ 0 w 5626099"/>
              <a:gd name="connsiteY55" fmla="*/ 2922778 h 3275013"/>
              <a:gd name="connsiteX56" fmla="*/ 0 w 5626099"/>
              <a:gd name="connsiteY56" fmla="*/ 2832283 h 3275013"/>
              <a:gd name="connsiteX57" fmla="*/ 0 w 5626099"/>
              <a:gd name="connsiteY57" fmla="*/ 2823199 h 3275013"/>
              <a:gd name="connsiteX58" fmla="*/ 0 w 5626099"/>
              <a:gd name="connsiteY58" fmla="*/ 2776080 h 3275013"/>
              <a:gd name="connsiteX59" fmla="*/ 0 w 5626099"/>
              <a:gd name="connsiteY59" fmla="*/ 2762519 h 3275013"/>
              <a:gd name="connsiteX60" fmla="*/ 0 w 5626099"/>
              <a:gd name="connsiteY60" fmla="*/ 2711860 h 3275013"/>
              <a:gd name="connsiteX61" fmla="*/ 0 w 5626099"/>
              <a:gd name="connsiteY61" fmla="*/ 2694264 h 3275013"/>
              <a:gd name="connsiteX62" fmla="*/ 0 w 5626099"/>
              <a:gd name="connsiteY62" fmla="*/ 2639090 h 3275013"/>
              <a:gd name="connsiteX63" fmla="*/ 0 w 5626099"/>
              <a:gd name="connsiteY63" fmla="*/ 2617988 h 3275013"/>
              <a:gd name="connsiteX64" fmla="*/ 0 w 5626099"/>
              <a:gd name="connsiteY64" fmla="*/ 2557235 h 3275013"/>
              <a:gd name="connsiteX65" fmla="*/ 0 w 5626099"/>
              <a:gd name="connsiteY65" fmla="*/ 2533245 h 3275013"/>
              <a:gd name="connsiteX66" fmla="*/ 0 w 5626099"/>
              <a:gd name="connsiteY66" fmla="*/ 2465761 h 3275013"/>
              <a:gd name="connsiteX67" fmla="*/ 0 w 5626099"/>
              <a:gd name="connsiteY67" fmla="*/ 2439589 h 3275013"/>
              <a:gd name="connsiteX68" fmla="*/ 0 w 5626099"/>
              <a:gd name="connsiteY68" fmla="*/ 2364132 h 3275013"/>
              <a:gd name="connsiteX69" fmla="*/ 0 w 5626099"/>
              <a:gd name="connsiteY69" fmla="*/ 2336576 h 3275013"/>
              <a:gd name="connsiteX70" fmla="*/ 0 w 5626099"/>
              <a:gd name="connsiteY70" fmla="*/ 2251815 h 3275013"/>
              <a:gd name="connsiteX71" fmla="*/ 0 w 5626099"/>
              <a:gd name="connsiteY71" fmla="*/ 2223758 h 3275013"/>
              <a:gd name="connsiteX72" fmla="*/ 0 w 5626099"/>
              <a:gd name="connsiteY72" fmla="*/ 2128275 h 3275013"/>
              <a:gd name="connsiteX73" fmla="*/ 0 w 5626099"/>
              <a:gd name="connsiteY73" fmla="*/ 2100691 h 3275013"/>
              <a:gd name="connsiteX74" fmla="*/ 0 w 5626099"/>
              <a:gd name="connsiteY74" fmla="*/ 1992978 h 3275013"/>
              <a:gd name="connsiteX75" fmla="*/ 0 w 5626099"/>
              <a:gd name="connsiteY75" fmla="*/ 1966929 h 3275013"/>
              <a:gd name="connsiteX76" fmla="*/ 0 w 5626099"/>
              <a:gd name="connsiteY76" fmla="*/ 1845389 h 3275013"/>
              <a:gd name="connsiteX77" fmla="*/ 0 w 5626099"/>
              <a:gd name="connsiteY77" fmla="*/ 1822027 h 3275013"/>
              <a:gd name="connsiteX78" fmla="*/ 0 w 5626099"/>
              <a:gd name="connsiteY78" fmla="*/ 1684975 h 3275013"/>
              <a:gd name="connsiteX79" fmla="*/ 0 w 5626099"/>
              <a:gd name="connsiteY79" fmla="*/ 1665538 h 3275013"/>
              <a:gd name="connsiteX80" fmla="*/ 0 w 5626099"/>
              <a:gd name="connsiteY80" fmla="*/ 1511199 h 3275013"/>
              <a:gd name="connsiteX81" fmla="*/ 0 w 5626099"/>
              <a:gd name="connsiteY81" fmla="*/ 1497017 h 3275013"/>
              <a:gd name="connsiteX82" fmla="*/ 0 w 5626099"/>
              <a:gd name="connsiteY82" fmla="*/ 1323529 h 3275013"/>
              <a:gd name="connsiteX83" fmla="*/ 0 w 5626099"/>
              <a:gd name="connsiteY83" fmla="*/ 1316019 h 3275013"/>
              <a:gd name="connsiteX84" fmla="*/ 0 w 5626099"/>
              <a:gd name="connsiteY84" fmla="*/ 1122098 h 3275013"/>
              <a:gd name="connsiteX85" fmla="*/ 0 w 5626099"/>
              <a:gd name="connsiteY85" fmla="*/ 1121430 h 3275013"/>
              <a:gd name="connsiteX86" fmla="*/ 0 w 5626099"/>
              <a:gd name="connsiteY86" fmla="*/ 914808 h 3275013"/>
              <a:gd name="connsiteX87" fmla="*/ 0 w 5626099"/>
              <a:gd name="connsiteY87" fmla="*/ 904367 h 3275013"/>
              <a:gd name="connsiteX88" fmla="*/ 0 w 5626099"/>
              <a:gd name="connsiteY88" fmla="*/ 693703 h 3275013"/>
              <a:gd name="connsiteX89" fmla="*/ 0 w 5626099"/>
              <a:gd name="connsiteY89" fmla="*/ 671806 h 3275013"/>
              <a:gd name="connsiteX90" fmla="*/ 0 w 5626099"/>
              <a:gd name="connsiteY90" fmla="*/ 158051 h 3275013"/>
              <a:gd name="connsiteX91" fmla="*/ 0 w 5626099"/>
              <a:gd name="connsiteY91" fmla="*/ 123162 h 3275013"/>
              <a:gd name="connsiteX92" fmla="*/ 3155 w 5626099"/>
              <a:gd name="connsiteY92" fmla="*/ 98883 h 3275013"/>
              <a:gd name="connsiteX93" fmla="*/ 144152 w 5626099"/>
              <a:gd name="connsiteY93" fmla="*/ 0 h 327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626099" h="3275013">
                <a:moveTo>
                  <a:pt x="144152" y="0"/>
                </a:moveTo>
                <a:lnTo>
                  <a:pt x="5478772" y="0"/>
                </a:lnTo>
                <a:cubicBezTo>
                  <a:pt x="5626099" y="0"/>
                  <a:pt x="5626099" y="147604"/>
                  <a:pt x="5626099" y="147604"/>
                </a:cubicBezTo>
                <a:cubicBezTo>
                  <a:pt x="5626099" y="147604"/>
                  <a:pt x="5626099" y="147604"/>
                  <a:pt x="5626099" y="2993771"/>
                </a:cubicBezTo>
                <a:lnTo>
                  <a:pt x="5626099" y="3275013"/>
                </a:lnTo>
                <a:lnTo>
                  <a:pt x="5580900" y="3275013"/>
                </a:lnTo>
                <a:cubicBezTo>
                  <a:pt x="5398089" y="3275013"/>
                  <a:pt x="5191826" y="3275013"/>
                  <a:pt x="4959101" y="3275013"/>
                </a:cubicBezTo>
                <a:lnTo>
                  <a:pt x="4824413" y="3275013"/>
                </a:lnTo>
                <a:lnTo>
                  <a:pt x="4823271" y="3275013"/>
                </a:lnTo>
                <a:lnTo>
                  <a:pt x="4815278" y="3275013"/>
                </a:lnTo>
                <a:lnTo>
                  <a:pt x="4793583" y="3275013"/>
                </a:lnTo>
                <a:lnTo>
                  <a:pt x="4751334" y="3275013"/>
                </a:lnTo>
                <a:lnTo>
                  <a:pt x="4717444" y="3275013"/>
                </a:lnTo>
                <a:lnTo>
                  <a:pt x="4681680" y="3275013"/>
                </a:lnTo>
                <a:lnTo>
                  <a:pt x="4577771" y="3275013"/>
                </a:lnTo>
                <a:lnTo>
                  <a:pt x="4457478" y="3275013"/>
                </a:lnTo>
                <a:lnTo>
                  <a:pt x="4432754" y="3275013"/>
                </a:lnTo>
                <a:lnTo>
                  <a:pt x="4342689" y="3275013"/>
                </a:lnTo>
                <a:lnTo>
                  <a:pt x="4239779" y="3275013"/>
                </a:lnTo>
                <a:lnTo>
                  <a:pt x="4178533" y="3275013"/>
                </a:lnTo>
                <a:lnTo>
                  <a:pt x="4123166" y="3275013"/>
                </a:lnTo>
                <a:lnTo>
                  <a:pt x="3991994" y="3275013"/>
                </a:lnTo>
                <a:lnTo>
                  <a:pt x="3879942" y="3275013"/>
                </a:lnTo>
                <a:lnTo>
                  <a:pt x="3845407" y="3275013"/>
                </a:lnTo>
                <a:lnTo>
                  <a:pt x="3682549" y="3275013"/>
                </a:lnTo>
                <a:lnTo>
                  <a:pt x="3561035" y="3275013"/>
                </a:lnTo>
                <a:lnTo>
                  <a:pt x="3502563" y="3275013"/>
                </a:lnTo>
                <a:lnTo>
                  <a:pt x="3304592" y="3275013"/>
                </a:lnTo>
                <a:lnTo>
                  <a:pt x="3221144" y="3275013"/>
                </a:lnTo>
                <a:lnTo>
                  <a:pt x="3087780" y="3275013"/>
                </a:lnTo>
                <a:lnTo>
                  <a:pt x="2859601" y="3275013"/>
                </a:lnTo>
                <a:lnTo>
                  <a:pt x="2851272" y="3275013"/>
                </a:lnTo>
                <a:lnTo>
                  <a:pt x="2594210" y="3275013"/>
                </a:lnTo>
                <a:lnTo>
                  <a:pt x="2475736" y="3275013"/>
                </a:lnTo>
                <a:lnTo>
                  <a:pt x="2315737" y="3275013"/>
                </a:lnTo>
                <a:lnTo>
                  <a:pt x="2068882" y="3275013"/>
                </a:lnTo>
                <a:lnTo>
                  <a:pt x="2014999" y="3275013"/>
                </a:lnTo>
                <a:lnTo>
                  <a:pt x="1691138" y="3275013"/>
                </a:lnTo>
                <a:lnTo>
                  <a:pt x="1638369" y="3275013"/>
                </a:lnTo>
                <a:lnTo>
                  <a:pt x="1343297" y="3275013"/>
                </a:lnTo>
                <a:lnTo>
                  <a:pt x="1183529" y="3275013"/>
                </a:lnTo>
                <a:lnTo>
                  <a:pt x="970621" y="3275013"/>
                </a:lnTo>
                <a:lnTo>
                  <a:pt x="703693" y="3275013"/>
                </a:lnTo>
                <a:lnTo>
                  <a:pt x="572253" y="3275013"/>
                </a:lnTo>
                <a:lnTo>
                  <a:pt x="198193" y="3275013"/>
                </a:lnTo>
                <a:lnTo>
                  <a:pt x="147337" y="3275013"/>
                </a:lnTo>
                <a:cubicBezTo>
                  <a:pt x="0" y="3275013"/>
                  <a:pt x="0" y="3127412"/>
                  <a:pt x="0" y="3127412"/>
                </a:cubicBezTo>
                <a:cubicBezTo>
                  <a:pt x="0" y="3127412"/>
                  <a:pt x="0" y="3127412"/>
                  <a:pt x="0" y="3089386"/>
                </a:cubicBezTo>
                <a:lnTo>
                  <a:pt x="0" y="3076690"/>
                </a:lnTo>
                <a:cubicBezTo>
                  <a:pt x="0" y="3076690"/>
                  <a:pt x="0" y="3076690"/>
                  <a:pt x="0" y="3057451"/>
                </a:cubicBezTo>
                <a:lnTo>
                  <a:pt x="0" y="3053141"/>
                </a:lnTo>
                <a:lnTo>
                  <a:pt x="0" y="3031087"/>
                </a:lnTo>
                <a:lnTo>
                  <a:pt x="0" y="2999072"/>
                </a:lnTo>
                <a:lnTo>
                  <a:pt x="0" y="2987620"/>
                </a:lnTo>
                <a:lnTo>
                  <a:pt x="0" y="2923613"/>
                </a:lnTo>
                <a:lnTo>
                  <a:pt x="0" y="2922778"/>
                </a:lnTo>
                <a:cubicBezTo>
                  <a:pt x="0" y="2897126"/>
                  <a:pt x="0" y="2867198"/>
                  <a:pt x="0" y="2832283"/>
                </a:cubicBezTo>
                <a:lnTo>
                  <a:pt x="0" y="2823199"/>
                </a:lnTo>
                <a:lnTo>
                  <a:pt x="0" y="2776080"/>
                </a:lnTo>
                <a:lnTo>
                  <a:pt x="0" y="2762519"/>
                </a:lnTo>
                <a:lnTo>
                  <a:pt x="0" y="2711860"/>
                </a:lnTo>
                <a:lnTo>
                  <a:pt x="0" y="2694264"/>
                </a:lnTo>
                <a:lnTo>
                  <a:pt x="0" y="2639090"/>
                </a:lnTo>
                <a:lnTo>
                  <a:pt x="0" y="2617988"/>
                </a:lnTo>
                <a:lnTo>
                  <a:pt x="0" y="2557235"/>
                </a:lnTo>
                <a:lnTo>
                  <a:pt x="0" y="2533245"/>
                </a:lnTo>
                <a:lnTo>
                  <a:pt x="0" y="2465761"/>
                </a:lnTo>
                <a:lnTo>
                  <a:pt x="0" y="2439589"/>
                </a:lnTo>
                <a:lnTo>
                  <a:pt x="0" y="2364132"/>
                </a:lnTo>
                <a:lnTo>
                  <a:pt x="0" y="2336576"/>
                </a:lnTo>
                <a:lnTo>
                  <a:pt x="0" y="2251815"/>
                </a:lnTo>
                <a:lnTo>
                  <a:pt x="0" y="2223758"/>
                </a:lnTo>
                <a:lnTo>
                  <a:pt x="0" y="2128275"/>
                </a:lnTo>
                <a:lnTo>
                  <a:pt x="0" y="2100691"/>
                </a:lnTo>
                <a:lnTo>
                  <a:pt x="0" y="1992978"/>
                </a:lnTo>
                <a:lnTo>
                  <a:pt x="0" y="1966929"/>
                </a:lnTo>
                <a:lnTo>
                  <a:pt x="0" y="1845389"/>
                </a:lnTo>
                <a:lnTo>
                  <a:pt x="0" y="1822027"/>
                </a:lnTo>
                <a:lnTo>
                  <a:pt x="0" y="1684975"/>
                </a:lnTo>
                <a:lnTo>
                  <a:pt x="0" y="1665538"/>
                </a:lnTo>
                <a:lnTo>
                  <a:pt x="0" y="1511199"/>
                </a:lnTo>
                <a:lnTo>
                  <a:pt x="0" y="1497017"/>
                </a:lnTo>
                <a:lnTo>
                  <a:pt x="0" y="1323529"/>
                </a:lnTo>
                <a:lnTo>
                  <a:pt x="0" y="1316019"/>
                </a:lnTo>
                <a:lnTo>
                  <a:pt x="0" y="1122098"/>
                </a:lnTo>
                <a:lnTo>
                  <a:pt x="0" y="1121430"/>
                </a:lnTo>
                <a:lnTo>
                  <a:pt x="0" y="914808"/>
                </a:lnTo>
                <a:lnTo>
                  <a:pt x="0" y="904367"/>
                </a:lnTo>
                <a:lnTo>
                  <a:pt x="0" y="693703"/>
                </a:lnTo>
                <a:lnTo>
                  <a:pt x="0" y="671806"/>
                </a:lnTo>
                <a:cubicBezTo>
                  <a:pt x="0" y="511480"/>
                  <a:pt x="0" y="340466"/>
                  <a:pt x="0" y="158051"/>
                </a:cubicBezTo>
                <a:lnTo>
                  <a:pt x="0" y="123162"/>
                </a:lnTo>
                <a:lnTo>
                  <a:pt x="3155" y="98883"/>
                </a:lnTo>
                <a:cubicBezTo>
                  <a:pt x="31354" y="0"/>
                  <a:pt x="144152" y="0"/>
                  <a:pt x="144152" y="0"/>
                </a:cubicBezTo>
                <a:close/>
              </a:path>
            </a:pathLst>
          </a:custGeom>
          <a:solidFill>
            <a:srgbClr val="FFFFFF">
              <a:alpha val="90000"/>
            </a:srgbClr>
          </a:solidFill>
        </p:spPr>
        <p:txBody>
          <a:bodyPr wrap="square" lIns="324000" tIns="324000" rIns="324000" bIns="324000">
            <a:noAutofit/>
          </a:bodyPr>
          <a:lstStyle>
            <a:lvl1pPr>
              <a:lnSpc>
                <a:spcPct val="90000"/>
              </a:lnSpc>
              <a:spcAft>
                <a:spcPts val="1200"/>
              </a:spcAft>
              <a:defRPr sz="3500">
                <a:solidFill>
                  <a:srgbClr val="ED8C00"/>
                </a:solidFill>
              </a:defRPr>
            </a:lvl1pPr>
            <a:lvl2pPr marL="0" indent="0">
              <a:lnSpc>
                <a:spcPct val="104000"/>
              </a:lnSpc>
              <a:spcBef>
                <a:spcPts val="1200"/>
              </a:spcBef>
              <a:buNone/>
              <a:defRPr sz="2000"/>
            </a:lvl2pPr>
            <a:lvl3pPr marL="250825" indent="-250825">
              <a:lnSpc>
                <a:spcPct val="104000"/>
              </a:lnSpc>
              <a:spcBef>
                <a:spcPts val="0"/>
              </a:spcBef>
              <a:defRPr sz="2000"/>
            </a:lvl3pPr>
            <a:lvl4pPr>
              <a:lnSpc>
                <a:spcPts val="3800"/>
              </a:lnSpc>
              <a:spcBef>
                <a:spcPts val="0"/>
              </a:spcBef>
              <a:defRPr sz="3500"/>
            </a:lvl4pPr>
            <a:lvl5pPr>
              <a:lnSpc>
                <a:spcPts val="3800"/>
              </a:lnSpc>
              <a:spcBef>
                <a:spcPts val="0"/>
              </a:spcBef>
              <a:defRPr sz="3500"/>
            </a:lvl5pPr>
          </a:lstStyle>
          <a:p>
            <a:pPr lvl="0"/>
            <a:r>
              <a:rPr lang="nl-NL"/>
              <a:t>Klik om een kop te maken</a:t>
            </a:r>
          </a:p>
          <a:p>
            <a:pPr lvl="1"/>
            <a:r>
              <a:rPr lang="nl-NL"/>
              <a:t>Tweede niveau</a:t>
            </a:r>
          </a:p>
          <a:p>
            <a:pPr lvl="2"/>
            <a:r>
              <a:rPr lang="nl-NL"/>
              <a:t>Derde niveau</a:t>
            </a:r>
          </a:p>
        </p:txBody>
      </p:sp>
      <p:sp>
        <p:nvSpPr>
          <p:cNvPr id="10" name="Text Placeholder 12"/>
          <p:cNvSpPr>
            <a:spLocks noGrp="1"/>
          </p:cNvSpPr>
          <p:nvPr>
            <p:ph type="body" sz="quarter" idx="13" hasCustomPrompt="1"/>
          </p:nvPr>
        </p:nvSpPr>
        <p:spPr>
          <a:xfrm>
            <a:off x="1020000" y="847724"/>
            <a:ext cx="10152000" cy="442855"/>
          </a:xfrm>
        </p:spPr>
        <p:txBody>
          <a:bodyPr>
            <a:noAutofit/>
          </a:bodyPr>
          <a:lstStyle>
            <a:lvl1pPr>
              <a:defRPr b="1">
                <a:solidFill>
                  <a:srgbClr val="ED8C00"/>
                </a:solidFill>
              </a:defRPr>
            </a:lvl1pPr>
          </a:lstStyle>
          <a:p>
            <a:pPr lvl="0"/>
            <a:r>
              <a:rPr lang="nl-NL" noProof="0"/>
              <a:t>Klik om een subtitle te maken</a:t>
            </a:r>
          </a:p>
        </p:txBody>
      </p:sp>
      <p:sp>
        <p:nvSpPr>
          <p:cNvPr id="4" name="Title 3"/>
          <p:cNvSpPr>
            <a:spLocks noGrp="1"/>
          </p:cNvSpPr>
          <p:nvPr>
            <p:ph type="title"/>
          </p:nvPr>
        </p:nvSpPr>
        <p:spPr/>
        <p:txBody>
          <a:bodyPr/>
          <a:lstStyle/>
          <a:p>
            <a:r>
              <a:rPr lang="nl-NL"/>
              <a:t>Klik om de stijl te bewerken</a:t>
            </a:r>
          </a:p>
        </p:txBody>
      </p:sp>
    </p:spTree>
    <p:extLst>
      <p:ext uri="{BB962C8B-B14F-4D97-AF65-F5344CB8AC3E}">
        <p14:creationId xmlns:p14="http://schemas.microsoft.com/office/powerpoint/2010/main" val="2613172172"/>
      </p:ext>
    </p:extLst>
  </p:cSld>
  <p:clrMapOvr>
    <a:masterClrMapping/>
  </p:clrMapOvr>
  <p:extLst>
    <p:ext uri="{DCECCB84-F9BA-43D5-87BE-67443E8EF086}">
      <p15:sldGuideLst xmlns:p15="http://schemas.microsoft.com/office/powerpoint/2012/main">
        <p15:guide id="1" orient="horz" pos="822">
          <p15:clr>
            <a:srgbClr val="FBAE40"/>
          </p15:clr>
        </p15:guide>
        <p15:guide id="2" orient="horz" pos="16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Kolom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020000" y="1663200"/>
            <a:ext cx="4824000" cy="4212000"/>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Content Placeholder 3"/>
          <p:cNvSpPr>
            <a:spLocks noGrp="1"/>
          </p:cNvSpPr>
          <p:nvPr>
            <p:ph sz="half" idx="2"/>
          </p:nvPr>
        </p:nvSpPr>
        <p:spPr>
          <a:xfrm>
            <a:off x="6348000" y="1663200"/>
            <a:ext cx="4824000" cy="4212000"/>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8" name="Footer Placeholder 7"/>
          <p:cNvSpPr>
            <a:spLocks noGrp="1"/>
          </p:cNvSpPr>
          <p:nvPr>
            <p:ph type="ftr" sz="quarter" idx="10"/>
          </p:nvPr>
        </p:nvSpPr>
        <p:spPr/>
        <p:txBody>
          <a:bodyPr/>
          <a:lstStyle/>
          <a:p>
            <a:r>
              <a:rPr lang="nl-NL"/>
              <a:t>PostNL voettekst</a:t>
            </a:r>
          </a:p>
        </p:txBody>
      </p:sp>
      <p:sp>
        <p:nvSpPr>
          <p:cNvPr id="9" name="Slide Number Placeholder 8"/>
          <p:cNvSpPr>
            <a:spLocks noGrp="1"/>
          </p:cNvSpPr>
          <p:nvPr>
            <p:ph type="sldNum" sz="quarter" idx="11"/>
          </p:nvPr>
        </p:nvSpPr>
        <p:spPr/>
        <p:txBody>
          <a:bodyPr/>
          <a:lstStyle/>
          <a:p>
            <a:fld id="{A1BC669C-0B8C-4F49-8D0F-E81255670A63}" type="slidenum">
              <a:rPr lang="nl-NL" smtClean="0"/>
              <a:pPr/>
              <a:t>‹nr.›</a:t>
            </a:fld>
            <a:endParaRPr lang="nl-NL"/>
          </a:p>
        </p:txBody>
      </p:sp>
      <p:sp>
        <p:nvSpPr>
          <p:cNvPr id="10" name="Date Placeholder 9"/>
          <p:cNvSpPr>
            <a:spLocks noGrp="1"/>
          </p:cNvSpPr>
          <p:nvPr>
            <p:ph type="dt" sz="half" idx="12"/>
          </p:nvPr>
        </p:nvSpPr>
        <p:spPr/>
        <p:txBody>
          <a:bodyPr/>
          <a:lstStyle/>
          <a:p>
            <a:r>
              <a:rPr lang="nl-NL"/>
              <a:t>Den Haag • 00 maand jaar</a:t>
            </a:r>
          </a:p>
        </p:txBody>
      </p:sp>
      <p:sp>
        <p:nvSpPr>
          <p:cNvPr id="12" name="Text Placeholder 12"/>
          <p:cNvSpPr>
            <a:spLocks noGrp="1"/>
          </p:cNvSpPr>
          <p:nvPr>
            <p:ph type="body" sz="quarter" idx="13" hasCustomPrompt="1"/>
          </p:nvPr>
        </p:nvSpPr>
        <p:spPr>
          <a:xfrm>
            <a:off x="1020000" y="847724"/>
            <a:ext cx="10152000" cy="442855"/>
          </a:xfrm>
        </p:spPr>
        <p:txBody>
          <a:bodyPr>
            <a:noAutofit/>
          </a:bodyPr>
          <a:lstStyle>
            <a:lvl1pPr>
              <a:defRPr b="1">
                <a:solidFill>
                  <a:srgbClr val="ED8C00"/>
                </a:solidFill>
              </a:defRPr>
            </a:lvl1pPr>
          </a:lstStyle>
          <a:p>
            <a:pPr lvl="0"/>
            <a:r>
              <a:rPr lang="nl-NL" noProof="0"/>
              <a:t>Klik om een subtitle te maken</a:t>
            </a:r>
          </a:p>
        </p:txBody>
      </p:sp>
      <p:sp>
        <p:nvSpPr>
          <p:cNvPr id="14" name="Line 6"/>
          <p:cNvSpPr>
            <a:spLocks noChangeShapeType="1"/>
          </p:cNvSpPr>
          <p:nvPr userDrawn="1"/>
        </p:nvSpPr>
        <p:spPr bwMode="auto">
          <a:xfrm>
            <a:off x="1020000" y="1358900"/>
            <a:ext cx="10152000" cy="0"/>
          </a:xfrm>
          <a:prstGeom prst="line">
            <a:avLst/>
          </a:prstGeom>
          <a:noFill/>
          <a:ln w="6350" cap="flat">
            <a:solidFill>
              <a:srgbClr val="ADB5C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 name="Title 5"/>
          <p:cNvSpPr>
            <a:spLocks noGrp="1"/>
          </p:cNvSpPr>
          <p:nvPr>
            <p:ph type="title" hasCustomPrompt="1"/>
          </p:nvPr>
        </p:nvSpPr>
        <p:spPr/>
        <p:txBody>
          <a:bodyPr/>
          <a:lstStyle>
            <a:lvl1pPr>
              <a:defRPr/>
            </a:lvl1pPr>
          </a:lstStyle>
          <a:p>
            <a:r>
              <a:rPr lang="nl-NL"/>
              <a:t>Klik om een titel te maken </a:t>
            </a:r>
          </a:p>
        </p:txBody>
      </p:sp>
    </p:spTree>
    <p:extLst>
      <p:ext uri="{BB962C8B-B14F-4D97-AF65-F5344CB8AC3E}">
        <p14:creationId xmlns:p14="http://schemas.microsoft.com/office/powerpoint/2010/main" val="944940992"/>
      </p:ext>
    </p:extLst>
  </p:cSld>
  <p:clrMapOvr>
    <a:masterClrMapping/>
  </p:clrMapOvr>
  <p:extLst>
    <p:ext uri="{DCECCB84-F9BA-43D5-87BE-67443E8EF086}">
      <p15:sldGuideLst xmlns:p15="http://schemas.microsoft.com/office/powerpoint/2012/main">
        <p15:guide id="1" orient="horz" pos="3702">
          <p15:clr>
            <a:srgbClr val="FBAE40"/>
          </p15:clr>
        </p15:guide>
        <p15:guide id="2" orient="horz" pos="1049">
          <p15:clr>
            <a:srgbClr val="FBAE40"/>
          </p15:clr>
        </p15:guide>
        <p15:guide id="3" pos="642">
          <p15:clr>
            <a:srgbClr val="FBAE40"/>
          </p15:clr>
        </p15:guide>
        <p15:guide id="4" pos="7038">
          <p15:clr>
            <a:srgbClr val="FBAE40"/>
          </p15:clr>
        </p15:guide>
        <p15:guide id="5" orient="horz" pos="822">
          <p15:clr>
            <a:srgbClr val="FBAE40"/>
          </p15:clr>
        </p15:guide>
        <p15:guide id="6" orient="horz" pos="16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Kolom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020000" y="1663200"/>
            <a:ext cx="3168000" cy="4212000"/>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Content Placeholder 3"/>
          <p:cNvSpPr>
            <a:spLocks noGrp="1"/>
          </p:cNvSpPr>
          <p:nvPr>
            <p:ph sz="half" idx="2"/>
          </p:nvPr>
        </p:nvSpPr>
        <p:spPr>
          <a:xfrm>
            <a:off x="4512000" y="1663200"/>
            <a:ext cx="3168000" cy="4212000"/>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8" name="Footer Placeholder 7"/>
          <p:cNvSpPr>
            <a:spLocks noGrp="1"/>
          </p:cNvSpPr>
          <p:nvPr>
            <p:ph type="ftr" sz="quarter" idx="10"/>
          </p:nvPr>
        </p:nvSpPr>
        <p:spPr/>
        <p:txBody>
          <a:bodyPr/>
          <a:lstStyle/>
          <a:p>
            <a:r>
              <a:rPr lang="nl-NL"/>
              <a:t>PostNL voettekst</a:t>
            </a:r>
          </a:p>
        </p:txBody>
      </p:sp>
      <p:sp>
        <p:nvSpPr>
          <p:cNvPr id="9" name="Slide Number Placeholder 8"/>
          <p:cNvSpPr>
            <a:spLocks noGrp="1"/>
          </p:cNvSpPr>
          <p:nvPr>
            <p:ph type="sldNum" sz="quarter" idx="11"/>
          </p:nvPr>
        </p:nvSpPr>
        <p:spPr/>
        <p:txBody>
          <a:bodyPr/>
          <a:lstStyle/>
          <a:p>
            <a:fld id="{A1BC669C-0B8C-4F49-8D0F-E81255670A63}" type="slidenum">
              <a:rPr lang="nl-NL" smtClean="0"/>
              <a:pPr/>
              <a:t>‹nr.›</a:t>
            </a:fld>
            <a:endParaRPr lang="nl-NL"/>
          </a:p>
        </p:txBody>
      </p:sp>
      <p:sp>
        <p:nvSpPr>
          <p:cNvPr id="10" name="Date Placeholder 9"/>
          <p:cNvSpPr>
            <a:spLocks noGrp="1"/>
          </p:cNvSpPr>
          <p:nvPr>
            <p:ph type="dt" sz="half" idx="12"/>
          </p:nvPr>
        </p:nvSpPr>
        <p:spPr/>
        <p:txBody>
          <a:bodyPr/>
          <a:lstStyle/>
          <a:p>
            <a:r>
              <a:rPr lang="nl-NL"/>
              <a:t>Den Haag • 00 maand jaar</a:t>
            </a:r>
          </a:p>
        </p:txBody>
      </p:sp>
      <p:sp>
        <p:nvSpPr>
          <p:cNvPr id="12" name="Text Placeholder 12"/>
          <p:cNvSpPr>
            <a:spLocks noGrp="1"/>
          </p:cNvSpPr>
          <p:nvPr>
            <p:ph type="body" sz="quarter" idx="13" hasCustomPrompt="1"/>
          </p:nvPr>
        </p:nvSpPr>
        <p:spPr>
          <a:xfrm>
            <a:off x="1020000" y="847724"/>
            <a:ext cx="10152000" cy="442855"/>
          </a:xfrm>
        </p:spPr>
        <p:txBody>
          <a:bodyPr>
            <a:noAutofit/>
          </a:bodyPr>
          <a:lstStyle>
            <a:lvl1pPr>
              <a:defRPr b="1">
                <a:solidFill>
                  <a:srgbClr val="ED8C00"/>
                </a:solidFill>
              </a:defRPr>
            </a:lvl1pPr>
          </a:lstStyle>
          <a:p>
            <a:pPr lvl="0"/>
            <a:r>
              <a:rPr lang="nl-NL" noProof="0"/>
              <a:t>Klik om een subtitle te maken</a:t>
            </a:r>
          </a:p>
        </p:txBody>
      </p:sp>
      <p:sp>
        <p:nvSpPr>
          <p:cNvPr id="11" name="Content Placeholder 3"/>
          <p:cNvSpPr>
            <a:spLocks noGrp="1"/>
          </p:cNvSpPr>
          <p:nvPr>
            <p:ph sz="half" idx="14"/>
          </p:nvPr>
        </p:nvSpPr>
        <p:spPr>
          <a:xfrm>
            <a:off x="8004000" y="1663200"/>
            <a:ext cx="3168000" cy="4212000"/>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14" name="Line 6"/>
          <p:cNvSpPr>
            <a:spLocks noChangeShapeType="1"/>
          </p:cNvSpPr>
          <p:nvPr userDrawn="1"/>
        </p:nvSpPr>
        <p:spPr bwMode="auto">
          <a:xfrm>
            <a:off x="1020000" y="1358900"/>
            <a:ext cx="10152000" cy="0"/>
          </a:xfrm>
          <a:prstGeom prst="line">
            <a:avLst/>
          </a:prstGeom>
          <a:noFill/>
          <a:ln w="6350" cap="flat">
            <a:solidFill>
              <a:srgbClr val="ADB5C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 name="Title 1"/>
          <p:cNvSpPr>
            <a:spLocks noGrp="1"/>
          </p:cNvSpPr>
          <p:nvPr>
            <p:ph type="title" hasCustomPrompt="1"/>
          </p:nvPr>
        </p:nvSpPr>
        <p:spPr/>
        <p:txBody>
          <a:bodyPr/>
          <a:lstStyle>
            <a:lvl1pPr>
              <a:defRPr/>
            </a:lvl1pPr>
          </a:lstStyle>
          <a:p>
            <a:r>
              <a:rPr lang="nl-NL"/>
              <a:t>Klik om een titel te maken </a:t>
            </a:r>
          </a:p>
        </p:txBody>
      </p:sp>
    </p:spTree>
    <p:extLst>
      <p:ext uri="{BB962C8B-B14F-4D97-AF65-F5344CB8AC3E}">
        <p14:creationId xmlns:p14="http://schemas.microsoft.com/office/powerpoint/2010/main" val="1412316111"/>
      </p:ext>
    </p:extLst>
  </p:cSld>
  <p:clrMapOvr>
    <a:masterClrMapping/>
  </p:clrMapOvr>
  <p:extLst>
    <p:ext uri="{DCECCB84-F9BA-43D5-87BE-67443E8EF086}">
      <p15:sldGuideLst xmlns:p15="http://schemas.microsoft.com/office/powerpoint/2012/main">
        <p15:guide id="1" orient="horz" pos="3702">
          <p15:clr>
            <a:srgbClr val="FBAE40"/>
          </p15:clr>
        </p15:guide>
        <p15:guide id="2" pos="642">
          <p15:clr>
            <a:srgbClr val="FBAE40"/>
          </p15:clr>
        </p15:guide>
        <p15:guide id="3" pos="7038">
          <p15:clr>
            <a:srgbClr val="FBAE40"/>
          </p15:clr>
        </p15:guide>
        <p15:guide id="4" orient="horz" pos="1049">
          <p15:clr>
            <a:srgbClr val="FBAE40"/>
          </p15:clr>
        </p15:guide>
        <p15:guide id="5" orient="horz" pos="822">
          <p15:clr>
            <a:srgbClr val="FBAE40"/>
          </p15:clr>
        </p15:guide>
        <p15:guide id="6" orient="horz" pos="16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Koloms Grafieke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020000" y="2394000"/>
            <a:ext cx="4824000" cy="3204000"/>
          </a:xfrm>
        </p:spPr>
        <p:txBody>
          <a:bodyPr/>
          <a:lstStyle>
            <a:lvl1pPr>
              <a:defRPr b="0">
                <a:solidFill>
                  <a:schemeClr val="tx2"/>
                </a:solidFill>
              </a:defRPr>
            </a:lvl1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Content Placeholder 3"/>
          <p:cNvSpPr>
            <a:spLocks noGrp="1"/>
          </p:cNvSpPr>
          <p:nvPr>
            <p:ph sz="half" idx="2"/>
          </p:nvPr>
        </p:nvSpPr>
        <p:spPr>
          <a:xfrm>
            <a:off x="6348000" y="2394000"/>
            <a:ext cx="4824000" cy="3204000"/>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9" name="Text Placeholder 8"/>
          <p:cNvSpPr>
            <a:spLocks noGrp="1"/>
          </p:cNvSpPr>
          <p:nvPr>
            <p:ph type="body" sz="quarter" idx="13" hasCustomPrompt="1"/>
          </p:nvPr>
        </p:nvSpPr>
        <p:spPr>
          <a:xfrm>
            <a:off x="1020000" y="1663200"/>
            <a:ext cx="4824000" cy="648000"/>
          </a:xfrm>
        </p:spPr>
        <p:txBody>
          <a:bodyPr/>
          <a:lstStyle>
            <a:lvl1pPr>
              <a:defRPr b="1">
                <a:solidFill>
                  <a:schemeClr val="accent1"/>
                </a:solidFill>
              </a:defRPr>
            </a:lvl1pPr>
            <a:lvl2pPr marL="0" indent="0">
              <a:lnSpc>
                <a:spcPts val="2100"/>
              </a:lnSpc>
              <a:spcBef>
                <a:spcPts val="0"/>
              </a:spcBef>
              <a:buNone/>
              <a:defRPr sz="1600"/>
            </a:lvl2pPr>
          </a:lstStyle>
          <a:p>
            <a:pPr lvl="0"/>
            <a:r>
              <a:rPr lang="nl-NL"/>
              <a:t>Klik om een titel te maken</a:t>
            </a:r>
          </a:p>
          <a:p>
            <a:pPr lvl="1"/>
            <a:r>
              <a:rPr lang="nl-NL"/>
              <a:t>Tweede niveau</a:t>
            </a:r>
          </a:p>
        </p:txBody>
      </p:sp>
      <p:sp>
        <p:nvSpPr>
          <p:cNvPr id="10" name="Text Placeholder 8"/>
          <p:cNvSpPr>
            <a:spLocks noGrp="1"/>
          </p:cNvSpPr>
          <p:nvPr>
            <p:ph type="body" sz="quarter" idx="14" hasCustomPrompt="1"/>
          </p:nvPr>
        </p:nvSpPr>
        <p:spPr>
          <a:xfrm>
            <a:off x="6348000" y="1663200"/>
            <a:ext cx="4824000" cy="648000"/>
          </a:xfrm>
        </p:spPr>
        <p:txBody>
          <a:bodyPr/>
          <a:lstStyle>
            <a:lvl1pPr>
              <a:defRPr b="1">
                <a:solidFill>
                  <a:schemeClr val="accent1"/>
                </a:solidFill>
              </a:defRPr>
            </a:lvl1pPr>
            <a:lvl2pPr marL="0" indent="0">
              <a:lnSpc>
                <a:spcPts val="2100"/>
              </a:lnSpc>
              <a:spcBef>
                <a:spcPts val="0"/>
              </a:spcBef>
              <a:buNone/>
              <a:defRPr sz="1600"/>
            </a:lvl2pPr>
          </a:lstStyle>
          <a:p>
            <a:pPr lvl="0"/>
            <a:r>
              <a:rPr lang="nl-NL"/>
              <a:t>Klik om een titel te maken</a:t>
            </a:r>
          </a:p>
          <a:p>
            <a:pPr lvl="1"/>
            <a:r>
              <a:rPr lang="nl-NL"/>
              <a:t>Tweede niveau</a:t>
            </a:r>
          </a:p>
        </p:txBody>
      </p:sp>
      <p:sp>
        <p:nvSpPr>
          <p:cNvPr id="11" name="Text Placeholder 8"/>
          <p:cNvSpPr>
            <a:spLocks noGrp="1"/>
          </p:cNvSpPr>
          <p:nvPr>
            <p:ph type="body" sz="quarter" idx="15"/>
          </p:nvPr>
        </p:nvSpPr>
        <p:spPr>
          <a:xfrm>
            <a:off x="1020000" y="5691600"/>
            <a:ext cx="4824000" cy="184666"/>
          </a:xfrm>
        </p:spPr>
        <p:txBody>
          <a:bodyPr anchor="b">
            <a:noAutofit/>
          </a:bodyPr>
          <a:lstStyle>
            <a:lvl1pPr>
              <a:lnSpc>
                <a:spcPct val="100000"/>
              </a:lnSpc>
              <a:defRPr sz="1200" b="0">
                <a:solidFill>
                  <a:schemeClr val="tx2"/>
                </a:solidFill>
              </a:defRPr>
            </a:lvl1pPr>
            <a:lvl2pPr marL="0" indent="0">
              <a:lnSpc>
                <a:spcPts val="2100"/>
              </a:lnSpc>
              <a:spcBef>
                <a:spcPts val="0"/>
              </a:spcBef>
              <a:buNone/>
              <a:defRPr sz="1800"/>
            </a:lvl2pPr>
          </a:lstStyle>
          <a:p>
            <a:pPr lvl="0"/>
            <a:r>
              <a:rPr lang="nl-NL"/>
              <a:t>Tekststijl van het model bewerken</a:t>
            </a:r>
          </a:p>
        </p:txBody>
      </p:sp>
      <p:sp>
        <p:nvSpPr>
          <p:cNvPr id="14" name="Text Placeholder 8"/>
          <p:cNvSpPr>
            <a:spLocks noGrp="1"/>
          </p:cNvSpPr>
          <p:nvPr>
            <p:ph type="body" sz="quarter" idx="16"/>
          </p:nvPr>
        </p:nvSpPr>
        <p:spPr>
          <a:xfrm>
            <a:off x="6348000" y="5691600"/>
            <a:ext cx="4824000" cy="184666"/>
          </a:xfrm>
        </p:spPr>
        <p:txBody>
          <a:bodyPr anchor="b">
            <a:noAutofit/>
          </a:bodyPr>
          <a:lstStyle>
            <a:lvl1pPr>
              <a:lnSpc>
                <a:spcPct val="100000"/>
              </a:lnSpc>
              <a:defRPr sz="1200" b="0">
                <a:solidFill>
                  <a:schemeClr val="tx2"/>
                </a:solidFill>
              </a:defRPr>
            </a:lvl1pPr>
            <a:lvl2pPr marL="0" indent="0">
              <a:lnSpc>
                <a:spcPts val="2100"/>
              </a:lnSpc>
              <a:spcBef>
                <a:spcPts val="0"/>
              </a:spcBef>
              <a:buNone/>
              <a:defRPr sz="1800"/>
            </a:lvl2pPr>
          </a:lstStyle>
          <a:p>
            <a:pPr lvl="0"/>
            <a:r>
              <a:rPr lang="nl-NL"/>
              <a:t>Tekststijl van het model bewerken</a:t>
            </a:r>
          </a:p>
        </p:txBody>
      </p:sp>
      <p:sp>
        <p:nvSpPr>
          <p:cNvPr id="8" name="Footer Placeholder 7"/>
          <p:cNvSpPr>
            <a:spLocks noGrp="1"/>
          </p:cNvSpPr>
          <p:nvPr>
            <p:ph type="ftr" sz="quarter" idx="17"/>
          </p:nvPr>
        </p:nvSpPr>
        <p:spPr/>
        <p:txBody>
          <a:bodyPr/>
          <a:lstStyle/>
          <a:p>
            <a:r>
              <a:rPr lang="nl-NL"/>
              <a:t>PostNL voettekst</a:t>
            </a:r>
          </a:p>
        </p:txBody>
      </p:sp>
      <p:sp>
        <p:nvSpPr>
          <p:cNvPr id="12" name="Slide Number Placeholder 11"/>
          <p:cNvSpPr>
            <a:spLocks noGrp="1"/>
          </p:cNvSpPr>
          <p:nvPr>
            <p:ph type="sldNum" sz="quarter" idx="18"/>
          </p:nvPr>
        </p:nvSpPr>
        <p:spPr/>
        <p:txBody>
          <a:bodyPr/>
          <a:lstStyle/>
          <a:p>
            <a:fld id="{A1BC669C-0B8C-4F49-8D0F-E81255670A63}" type="slidenum">
              <a:rPr lang="nl-NL" smtClean="0"/>
              <a:pPr/>
              <a:t>‹nr.›</a:t>
            </a:fld>
            <a:endParaRPr lang="nl-NL"/>
          </a:p>
        </p:txBody>
      </p:sp>
      <p:sp>
        <p:nvSpPr>
          <p:cNvPr id="13" name="Date Placeholder 12"/>
          <p:cNvSpPr>
            <a:spLocks noGrp="1"/>
          </p:cNvSpPr>
          <p:nvPr>
            <p:ph type="dt" sz="half" idx="19"/>
          </p:nvPr>
        </p:nvSpPr>
        <p:spPr/>
        <p:txBody>
          <a:bodyPr/>
          <a:lstStyle/>
          <a:p>
            <a:r>
              <a:rPr lang="nl-NL"/>
              <a:t>Den Haag • 00 maand jaar</a:t>
            </a:r>
          </a:p>
        </p:txBody>
      </p:sp>
      <p:sp>
        <p:nvSpPr>
          <p:cNvPr id="16" name="Line 6"/>
          <p:cNvSpPr>
            <a:spLocks noChangeShapeType="1"/>
          </p:cNvSpPr>
          <p:nvPr userDrawn="1"/>
        </p:nvSpPr>
        <p:spPr bwMode="auto">
          <a:xfrm>
            <a:off x="1020000" y="1358900"/>
            <a:ext cx="10152000" cy="0"/>
          </a:xfrm>
          <a:prstGeom prst="line">
            <a:avLst/>
          </a:prstGeom>
          <a:noFill/>
          <a:ln w="6350" cap="flat">
            <a:solidFill>
              <a:srgbClr val="ADB5C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 name="Title 6"/>
          <p:cNvSpPr>
            <a:spLocks noGrp="1"/>
          </p:cNvSpPr>
          <p:nvPr>
            <p:ph type="title" hasCustomPrompt="1"/>
          </p:nvPr>
        </p:nvSpPr>
        <p:spPr/>
        <p:txBody>
          <a:bodyPr/>
          <a:lstStyle>
            <a:lvl1pPr>
              <a:defRPr/>
            </a:lvl1pPr>
          </a:lstStyle>
          <a:p>
            <a:r>
              <a:rPr lang="nl-NL"/>
              <a:t>Klik om een titel te maken </a:t>
            </a:r>
          </a:p>
        </p:txBody>
      </p:sp>
      <p:sp>
        <p:nvSpPr>
          <p:cNvPr id="17" name="Text Placeholder 12"/>
          <p:cNvSpPr>
            <a:spLocks noGrp="1"/>
          </p:cNvSpPr>
          <p:nvPr>
            <p:ph type="body" sz="quarter" idx="20" hasCustomPrompt="1"/>
          </p:nvPr>
        </p:nvSpPr>
        <p:spPr>
          <a:xfrm>
            <a:off x="1020000" y="847724"/>
            <a:ext cx="10152000" cy="442855"/>
          </a:xfrm>
        </p:spPr>
        <p:txBody>
          <a:bodyPr>
            <a:noAutofit/>
          </a:bodyPr>
          <a:lstStyle>
            <a:lvl1pPr>
              <a:defRPr b="1">
                <a:solidFill>
                  <a:srgbClr val="ED8C00"/>
                </a:solidFill>
              </a:defRPr>
            </a:lvl1pPr>
          </a:lstStyle>
          <a:p>
            <a:pPr lvl="0"/>
            <a:r>
              <a:rPr lang="nl-NL" noProof="0"/>
              <a:t>Klik om een subtitle te maken</a:t>
            </a:r>
          </a:p>
        </p:txBody>
      </p:sp>
    </p:spTree>
    <p:extLst>
      <p:ext uri="{BB962C8B-B14F-4D97-AF65-F5344CB8AC3E}">
        <p14:creationId xmlns:p14="http://schemas.microsoft.com/office/powerpoint/2010/main" val="3786577220"/>
      </p:ext>
    </p:extLst>
  </p:cSld>
  <p:clrMapOvr>
    <a:masterClrMapping/>
  </p:clrMapOvr>
  <p:extLst>
    <p:ext uri="{DCECCB84-F9BA-43D5-87BE-67443E8EF086}">
      <p15:sldGuideLst xmlns:p15="http://schemas.microsoft.com/office/powerpoint/2012/main">
        <p15:guide id="1" pos="642">
          <p15:clr>
            <a:srgbClr val="FBAE40"/>
          </p15:clr>
        </p15:guide>
        <p15:guide id="2" pos="7038">
          <p15:clr>
            <a:srgbClr val="FBAE40"/>
          </p15:clr>
        </p15:guide>
        <p15:guide id="3" orient="horz" pos="3702">
          <p15:clr>
            <a:srgbClr val="FBAE40"/>
          </p15:clr>
        </p15:guide>
        <p15:guide id="4" orient="horz" pos="1049">
          <p15:clr>
            <a:srgbClr val="FBAE40"/>
          </p15:clr>
        </p15:guide>
        <p15:guide id="5" orient="horz" pos="164">
          <p15:clr>
            <a:srgbClr val="FBAE40"/>
          </p15:clr>
        </p15:guide>
        <p15:guide id="6" orient="horz" pos="82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afiek links, tekst recht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020000" y="2394354"/>
            <a:ext cx="4824000" cy="3204000"/>
          </a:xfrm>
        </p:spPr>
        <p:txBody>
          <a:bodyPr/>
          <a:lstStyle>
            <a:lvl1pPr>
              <a:defRPr b="0">
                <a:solidFill>
                  <a:schemeClr val="tx2"/>
                </a:solidFill>
              </a:defRPr>
            </a:lvl1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9" name="Text Placeholder 8"/>
          <p:cNvSpPr>
            <a:spLocks noGrp="1"/>
          </p:cNvSpPr>
          <p:nvPr>
            <p:ph type="body" sz="quarter" idx="13" hasCustomPrompt="1"/>
          </p:nvPr>
        </p:nvSpPr>
        <p:spPr>
          <a:xfrm>
            <a:off x="1020000" y="1663200"/>
            <a:ext cx="4824000" cy="648000"/>
          </a:xfrm>
        </p:spPr>
        <p:txBody>
          <a:bodyPr/>
          <a:lstStyle>
            <a:lvl1pPr>
              <a:defRPr b="1">
                <a:solidFill>
                  <a:schemeClr val="accent1"/>
                </a:solidFill>
              </a:defRPr>
            </a:lvl1pPr>
            <a:lvl2pPr marL="0" indent="0">
              <a:lnSpc>
                <a:spcPts val="2100"/>
              </a:lnSpc>
              <a:spcBef>
                <a:spcPts val="0"/>
              </a:spcBef>
              <a:buNone/>
              <a:defRPr sz="1600"/>
            </a:lvl2pPr>
          </a:lstStyle>
          <a:p>
            <a:pPr lvl="0"/>
            <a:r>
              <a:rPr lang="nl-NL"/>
              <a:t>Klik om een kop te maken</a:t>
            </a:r>
          </a:p>
          <a:p>
            <a:pPr lvl="1"/>
            <a:r>
              <a:rPr lang="nl-NL"/>
              <a:t>Tweede niveau</a:t>
            </a:r>
          </a:p>
        </p:txBody>
      </p:sp>
      <p:sp>
        <p:nvSpPr>
          <p:cNvPr id="12" name="Content Placeholder 3"/>
          <p:cNvSpPr>
            <a:spLocks noGrp="1"/>
          </p:cNvSpPr>
          <p:nvPr>
            <p:ph sz="half" idx="2"/>
          </p:nvPr>
        </p:nvSpPr>
        <p:spPr>
          <a:xfrm>
            <a:off x="6348000" y="1663200"/>
            <a:ext cx="4824000" cy="4212000"/>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14" name="Text Placeholder 8"/>
          <p:cNvSpPr>
            <a:spLocks noGrp="1"/>
          </p:cNvSpPr>
          <p:nvPr>
            <p:ph type="body" sz="quarter" idx="15"/>
          </p:nvPr>
        </p:nvSpPr>
        <p:spPr>
          <a:xfrm>
            <a:off x="1020000" y="5690534"/>
            <a:ext cx="4824000" cy="184666"/>
          </a:xfrm>
        </p:spPr>
        <p:txBody>
          <a:bodyPr anchor="b">
            <a:noAutofit/>
          </a:bodyPr>
          <a:lstStyle>
            <a:lvl1pPr>
              <a:lnSpc>
                <a:spcPct val="100000"/>
              </a:lnSpc>
              <a:defRPr sz="1200" b="0">
                <a:solidFill>
                  <a:schemeClr val="tx2"/>
                </a:solidFill>
              </a:defRPr>
            </a:lvl1pPr>
            <a:lvl2pPr marL="0" indent="0">
              <a:lnSpc>
                <a:spcPts val="2100"/>
              </a:lnSpc>
              <a:spcBef>
                <a:spcPts val="0"/>
              </a:spcBef>
              <a:buNone/>
              <a:defRPr sz="1800"/>
            </a:lvl2pPr>
          </a:lstStyle>
          <a:p>
            <a:pPr lvl="0"/>
            <a:r>
              <a:rPr lang="nl-NL"/>
              <a:t>Tekststijl van het model bewerken</a:t>
            </a:r>
          </a:p>
        </p:txBody>
      </p:sp>
      <p:sp>
        <p:nvSpPr>
          <p:cNvPr id="4" name="Footer Placeholder 3"/>
          <p:cNvSpPr>
            <a:spLocks noGrp="1"/>
          </p:cNvSpPr>
          <p:nvPr>
            <p:ph type="ftr" sz="quarter" idx="16"/>
          </p:nvPr>
        </p:nvSpPr>
        <p:spPr/>
        <p:txBody>
          <a:bodyPr/>
          <a:lstStyle/>
          <a:p>
            <a:r>
              <a:rPr lang="nl-NL"/>
              <a:t>PostNL voettekst</a:t>
            </a:r>
          </a:p>
        </p:txBody>
      </p:sp>
      <p:sp>
        <p:nvSpPr>
          <p:cNvPr id="8" name="Slide Number Placeholder 7"/>
          <p:cNvSpPr>
            <a:spLocks noGrp="1"/>
          </p:cNvSpPr>
          <p:nvPr>
            <p:ph type="sldNum" sz="quarter" idx="17"/>
          </p:nvPr>
        </p:nvSpPr>
        <p:spPr/>
        <p:txBody>
          <a:bodyPr/>
          <a:lstStyle/>
          <a:p>
            <a:fld id="{A1BC669C-0B8C-4F49-8D0F-E81255670A63}" type="slidenum">
              <a:rPr lang="nl-NL" smtClean="0"/>
              <a:pPr/>
              <a:t>‹nr.›</a:t>
            </a:fld>
            <a:endParaRPr lang="nl-NL"/>
          </a:p>
        </p:txBody>
      </p:sp>
      <p:sp>
        <p:nvSpPr>
          <p:cNvPr id="10" name="Date Placeholder 9"/>
          <p:cNvSpPr>
            <a:spLocks noGrp="1"/>
          </p:cNvSpPr>
          <p:nvPr>
            <p:ph type="dt" sz="half" idx="18"/>
          </p:nvPr>
        </p:nvSpPr>
        <p:spPr/>
        <p:txBody>
          <a:bodyPr/>
          <a:lstStyle/>
          <a:p>
            <a:r>
              <a:rPr lang="nl-NL"/>
              <a:t>Den Haag • 00 maand jaar</a:t>
            </a:r>
          </a:p>
        </p:txBody>
      </p:sp>
      <p:sp>
        <p:nvSpPr>
          <p:cNvPr id="15" name="Line 6"/>
          <p:cNvSpPr>
            <a:spLocks noChangeShapeType="1"/>
          </p:cNvSpPr>
          <p:nvPr userDrawn="1"/>
        </p:nvSpPr>
        <p:spPr bwMode="auto">
          <a:xfrm>
            <a:off x="1020000" y="1358900"/>
            <a:ext cx="10152000" cy="0"/>
          </a:xfrm>
          <a:prstGeom prst="line">
            <a:avLst/>
          </a:prstGeom>
          <a:noFill/>
          <a:ln w="6350" cap="flat">
            <a:solidFill>
              <a:srgbClr val="ADB5C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 name="Title 5"/>
          <p:cNvSpPr>
            <a:spLocks noGrp="1"/>
          </p:cNvSpPr>
          <p:nvPr>
            <p:ph type="title" hasCustomPrompt="1"/>
          </p:nvPr>
        </p:nvSpPr>
        <p:spPr>
          <a:xfrm>
            <a:off x="1020000" y="260350"/>
            <a:ext cx="10152000" cy="1030230"/>
          </a:xfrm>
        </p:spPr>
        <p:txBody>
          <a:bodyPr/>
          <a:lstStyle>
            <a:lvl1pPr>
              <a:defRPr/>
            </a:lvl1pPr>
          </a:lstStyle>
          <a:p>
            <a:r>
              <a:rPr lang="nl-NL"/>
              <a:t>Klik om een titel te maken </a:t>
            </a:r>
          </a:p>
        </p:txBody>
      </p:sp>
      <p:sp>
        <p:nvSpPr>
          <p:cNvPr id="16" name="Text Placeholder 12"/>
          <p:cNvSpPr>
            <a:spLocks noGrp="1"/>
          </p:cNvSpPr>
          <p:nvPr>
            <p:ph type="body" sz="quarter" idx="19" hasCustomPrompt="1"/>
          </p:nvPr>
        </p:nvSpPr>
        <p:spPr>
          <a:xfrm>
            <a:off x="1020000" y="847724"/>
            <a:ext cx="10152000" cy="442855"/>
          </a:xfrm>
        </p:spPr>
        <p:txBody>
          <a:bodyPr>
            <a:noAutofit/>
          </a:bodyPr>
          <a:lstStyle>
            <a:lvl1pPr>
              <a:defRPr b="1">
                <a:solidFill>
                  <a:srgbClr val="ED8C00"/>
                </a:solidFill>
              </a:defRPr>
            </a:lvl1pPr>
          </a:lstStyle>
          <a:p>
            <a:pPr lvl="0"/>
            <a:r>
              <a:rPr lang="nl-NL" noProof="0"/>
              <a:t>Klik om een subtitle te maken</a:t>
            </a:r>
          </a:p>
        </p:txBody>
      </p:sp>
    </p:spTree>
    <p:extLst>
      <p:ext uri="{BB962C8B-B14F-4D97-AF65-F5344CB8AC3E}">
        <p14:creationId xmlns:p14="http://schemas.microsoft.com/office/powerpoint/2010/main" val="2054864366"/>
      </p:ext>
    </p:extLst>
  </p:cSld>
  <p:clrMapOvr>
    <a:masterClrMapping/>
  </p:clrMapOvr>
  <p:extLst>
    <p:ext uri="{DCECCB84-F9BA-43D5-87BE-67443E8EF086}">
      <p15:sldGuideLst xmlns:p15="http://schemas.microsoft.com/office/powerpoint/2012/main">
        <p15:guide id="1" pos="642">
          <p15:clr>
            <a:srgbClr val="FBAE40"/>
          </p15:clr>
        </p15:guide>
        <p15:guide id="2" pos="7038">
          <p15:clr>
            <a:srgbClr val="FBAE40"/>
          </p15:clr>
        </p15:guide>
        <p15:guide id="3" orient="horz" pos="3702">
          <p15:clr>
            <a:srgbClr val="FBAE40"/>
          </p15:clr>
        </p15:guide>
        <p15:guide id="4" orient="horz" pos="1049">
          <p15:clr>
            <a:srgbClr val="FBAE40"/>
          </p15:clr>
        </p15:guide>
        <p15:guide id="5" orient="horz" pos="822">
          <p15:clr>
            <a:srgbClr val="FBAE40"/>
          </p15:clr>
        </p15:guide>
        <p15:guide id="6" orient="horz" pos="16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links, grafiek rechts">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348000" y="2398867"/>
            <a:ext cx="4824000" cy="3204000"/>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10" name="Text Placeholder 8"/>
          <p:cNvSpPr>
            <a:spLocks noGrp="1"/>
          </p:cNvSpPr>
          <p:nvPr>
            <p:ph type="body" sz="quarter" idx="14" hasCustomPrompt="1"/>
          </p:nvPr>
        </p:nvSpPr>
        <p:spPr>
          <a:xfrm>
            <a:off x="6348000" y="1663200"/>
            <a:ext cx="4824000" cy="648000"/>
          </a:xfrm>
        </p:spPr>
        <p:txBody>
          <a:bodyPr/>
          <a:lstStyle>
            <a:lvl1pPr>
              <a:defRPr b="1">
                <a:solidFill>
                  <a:schemeClr val="accent1"/>
                </a:solidFill>
              </a:defRPr>
            </a:lvl1pPr>
            <a:lvl2pPr marL="0" indent="0">
              <a:lnSpc>
                <a:spcPts val="2100"/>
              </a:lnSpc>
              <a:spcBef>
                <a:spcPts val="0"/>
              </a:spcBef>
              <a:buNone/>
              <a:defRPr sz="1600"/>
            </a:lvl2pPr>
          </a:lstStyle>
          <a:p>
            <a:pPr lvl="0"/>
            <a:r>
              <a:rPr lang="nl-NL"/>
              <a:t>Klik om een kop te maken</a:t>
            </a:r>
          </a:p>
          <a:p>
            <a:pPr lvl="1"/>
            <a:r>
              <a:rPr lang="nl-NL"/>
              <a:t>Tweede niveau</a:t>
            </a:r>
          </a:p>
        </p:txBody>
      </p:sp>
      <p:sp>
        <p:nvSpPr>
          <p:cNvPr id="12" name="Content Placeholder 2"/>
          <p:cNvSpPr>
            <a:spLocks noGrp="1"/>
          </p:cNvSpPr>
          <p:nvPr>
            <p:ph sz="half" idx="1"/>
          </p:nvPr>
        </p:nvSpPr>
        <p:spPr>
          <a:xfrm>
            <a:off x="1020000" y="1663200"/>
            <a:ext cx="4824000" cy="4212000"/>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15" name="Text Placeholder 8"/>
          <p:cNvSpPr>
            <a:spLocks noGrp="1"/>
          </p:cNvSpPr>
          <p:nvPr>
            <p:ph type="body" sz="quarter" idx="16"/>
          </p:nvPr>
        </p:nvSpPr>
        <p:spPr>
          <a:xfrm>
            <a:off x="6348000" y="5690534"/>
            <a:ext cx="4824000" cy="184666"/>
          </a:xfrm>
        </p:spPr>
        <p:txBody>
          <a:bodyPr anchor="b">
            <a:noAutofit/>
          </a:bodyPr>
          <a:lstStyle>
            <a:lvl1pPr>
              <a:lnSpc>
                <a:spcPct val="100000"/>
              </a:lnSpc>
              <a:defRPr sz="1200" b="0">
                <a:solidFill>
                  <a:schemeClr val="tx2"/>
                </a:solidFill>
              </a:defRPr>
            </a:lvl1pPr>
            <a:lvl2pPr marL="0" indent="0">
              <a:lnSpc>
                <a:spcPts val="2100"/>
              </a:lnSpc>
              <a:spcBef>
                <a:spcPts val="0"/>
              </a:spcBef>
              <a:buNone/>
              <a:defRPr sz="1800"/>
            </a:lvl2pPr>
          </a:lstStyle>
          <a:p>
            <a:pPr lvl="0"/>
            <a:r>
              <a:rPr lang="nl-NL"/>
              <a:t>Tekststijl van het model bewerken</a:t>
            </a:r>
          </a:p>
        </p:txBody>
      </p:sp>
      <p:sp>
        <p:nvSpPr>
          <p:cNvPr id="3" name="Footer Placeholder 2"/>
          <p:cNvSpPr>
            <a:spLocks noGrp="1"/>
          </p:cNvSpPr>
          <p:nvPr>
            <p:ph type="ftr" sz="quarter" idx="17"/>
          </p:nvPr>
        </p:nvSpPr>
        <p:spPr/>
        <p:txBody>
          <a:bodyPr/>
          <a:lstStyle/>
          <a:p>
            <a:r>
              <a:rPr lang="nl-NL"/>
              <a:t>PostNL voettekst</a:t>
            </a:r>
          </a:p>
        </p:txBody>
      </p:sp>
      <p:sp>
        <p:nvSpPr>
          <p:cNvPr id="8" name="Slide Number Placeholder 7"/>
          <p:cNvSpPr>
            <a:spLocks noGrp="1"/>
          </p:cNvSpPr>
          <p:nvPr>
            <p:ph type="sldNum" sz="quarter" idx="18"/>
          </p:nvPr>
        </p:nvSpPr>
        <p:spPr/>
        <p:txBody>
          <a:bodyPr/>
          <a:lstStyle/>
          <a:p>
            <a:fld id="{A1BC669C-0B8C-4F49-8D0F-E81255670A63}" type="slidenum">
              <a:rPr lang="nl-NL" smtClean="0"/>
              <a:pPr/>
              <a:t>‹nr.›</a:t>
            </a:fld>
            <a:endParaRPr lang="nl-NL"/>
          </a:p>
        </p:txBody>
      </p:sp>
      <p:sp>
        <p:nvSpPr>
          <p:cNvPr id="9" name="Date Placeholder 8"/>
          <p:cNvSpPr>
            <a:spLocks noGrp="1"/>
          </p:cNvSpPr>
          <p:nvPr>
            <p:ph type="dt" sz="half" idx="19"/>
          </p:nvPr>
        </p:nvSpPr>
        <p:spPr/>
        <p:txBody>
          <a:bodyPr/>
          <a:lstStyle/>
          <a:p>
            <a:r>
              <a:rPr lang="nl-NL"/>
              <a:t>Den Haag • 00 maand jaar</a:t>
            </a:r>
          </a:p>
        </p:txBody>
      </p:sp>
      <p:sp>
        <p:nvSpPr>
          <p:cNvPr id="5" name="Title 4"/>
          <p:cNvSpPr>
            <a:spLocks noGrp="1"/>
          </p:cNvSpPr>
          <p:nvPr>
            <p:ph type="title" hasCustomPrompt="1"/>
          </p:nvPr>
        </p:nvSpPr>
        <p:spPr>
          <a:xfrm>
            <a:off x="1020000" y="260350"/>
            <a:ext cx="10152000" cy="1030230"/>
          </a:xfrm>
        </p:spPr>
        <p:txBody>
          <a:bodyPr/>
          <a:lstStyle>
            <a:lvl1pPr>
              <a:defRPr/>
            </a:lvl1pPr>
          </a:lstStyle>
          <a:p>
            <a:r>
              <a:rPr lang="nl-NL"/>
              <a:t>Klik om een titel te maken </a:t>
            </a:r>
          </a:p>
        </p:txBody>
      </p:sp>
      <p:sp>
        <p:nvSpPr>
          <p:cNvPr id="14" name="Line 6"/>
          <p:cNvSpPr>
            <a:spLocks noChangeShapeType="1"/>
          </p:cNvSpPr>
          <p:nvPr userDrawn="1"/>
        </p:nvSpPr>
        <p:spPr bwMode="auto">
          <a:xfrm>
            <a:off x="1020000" y="1358900"/>
            <a:ext cx="10152000" cy="0"/>
          </a:xfrm>
          <a:prstGeom prst="line">
            <a:avLst/>
          </a:prstGeom>
          <a:noFill/>
          <a:ln w="6350" cap="flat">
            <a:solidFill>
              <a:srgbClr val="ADB5C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 name="Text Placeholder 12"/>
          <p:cNvSpPr>
            <a:spLocks noGrp="1"/>
          </p:cNvSpPr>
          <p:nvPr>
            <p:ph type="body" sz="quarter" idx="20" hasCustomPrompt="1"/>
          </p:nvPr>
        </p:nvSpPr>
        <p:spPr>
          <a:xfrm>
            <a:off x="1020000" y="847724"/>
            <a:ext cx="10152000" cy="442855"/>
          </a:xfrm>
        </p:spPr>
        <p:txBody>
          <a:bodyPr>
            <a:noAutofit/>
          </a:bodyPr>
          <a:lstStyle>
            <a:lvl1pPr>
              <a:defRPr b="1">
                <a:solidFill>
                  <a:srgbClr val="ED8C00"/>
                </a:solidFill>
              </a:defRPr>
            </a:lvl1pPr>
          </a:lstStyle>
          <a:p>
            <a:pPr lvl="0"/>
            <a:r>
              <a:rPr lang="nl-NL" noProof="0"/>
              <a:t>Klik om een subtitle te maken</a:t>
            </a:r>
          </a:p>
        </p:txBody>
      </p:sp>
    </p:spTree>
    <p:extLst>
      <p:ext uri="{BB962C8B-B14F-4D97-AF65-F5344CB8AC3E}">
        <p14:creationId xmlns:p14="http://schemas.microsoft.com/office/powerpoint/2010/main" val="2113892261"/>
      </p:ext>
    </p:extLst>
  </p:cSld>
  <p:clrMapOvr>
    <a:masterClrMapping/>
  </p:clrMapOvr>
  <p:extLst>
    <p:ext uri="{DCECCB84-F9BA-43D5-87BE-67443E8EF086}">
      <p15:sldGuideLst xmlns:p15="http://schemas.microsoft.com/office/powerpoint/2012/main">
        <p15:guide id="1" orient="horz" pos="3702">
          <p15:clr>
            <a:srgbClr val="FBAE40"/>
          </p15:clr>
        </p15:guide>
        <p15:guide id="2" orient="horz" pos="164">
          <p15:clr>
            <a:srgbClr val="FBAE40"/>
          </p15:clr>
        </p15:guide>
        <p15:guide id="3" orient="horz" pos="1049">
          <p15:clr>
            <a:srgbClr val="FBAE40"/>
          </p15:clr>
        </p15:guide>
        <p15:guide id="4" orient="horz" pos="822">
          <p15:clr>
            <a:srgbClr val="FBAE40"/>
          </p15:clr>
        </p15:guide>
        <p15:guide id="5" pos="642">
          <p15:clr>
            <a:srgbClr val="FBAE40"/>
          </p15:clr>
        </p15:guide>
        <p15:guide id="6" pos="703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10" name="Text Placeholder 12"/>
          <p:cNvSpPr>
            <a:spLocks noGrp="1"/>
          </p:cNvSpPr>
          <p:nvPr>
            <p:ph type="body" sz="quarter" idx="13" hasCustomPrompt="1"/>
          </p:nvPr>
        </p:nvSpPr>
        <p:spPr>
          <a:xfrm>
            <a:off x="612000" y="799596"/>
            <a:ext cx="11269184" cy="442855"/>
          </a:xfrm>
        </p:spPr>
        <p:txBody>
          <a:bodyPr>
            <a:noAutofit/>
          </a:bodyPr>
          <a:lstStyle>
            <a:lvl1pPr>
              <a:defRPr b="1">
                <a:solidFill>
                  <a:srgbClr val="ED8C00"/>
                </a:solidFill>
              </a:defRPr>
            </a:lvl1pPr>
          </a:lstStyle>
          <a:p>
            <a:pPr lvl="0"/>
            <a:r>
              <a:rPr lang="nl-NL" noProof="0"/>
              <a:t>Klik om een </a:t>
            </a:r>
            <a:r>
              <a:rPr lang="nl-NL" noProof="0" err="1"/>
              <a:t>subtitle</a:t>
            </a:r>
            <a:r>
              <a:rPr lang="nl-NL" noProof="0"/>
              <a:t> te maken</a:t>
            </a:r>
          </a:p>
        </p:txBody>
      </p:sp>
      <p:sp>
        <p:nvSpPr>
          <p:cNvPr id="13" name="Line 6"/>
          <p:cNvSpPr>
            <a:spLocks noChangeShapeType="1"/>
          </p:cNvSpPr>
          <p:nvPr userDrawn="1"/>
        </p:nvSpPr>
        <p:spPr bwMode="auto">
          <a:xfrm>
            <a:off x="611999" y="1419728"/>
            <a:ext cx="11269183" cy="0"/>
          </a:xfrm>
          <a:prstGeom prst="line">
            <a:avLst/>
          </a:prstGeom>
          <a:noFill/>
          <a:ln w="6350" cap="flat">
            <a:solidFill>
              <a:srgbClr val="ADB5C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 name="Title 3"/>
          <p:cNvSpPr>
            <a:spLocks noGrp="1"/>
          </p:cNvSpPr>
          <p:nvPr>
            <p:ph type="title" hasCustomPrompt="1"/>
          </p:nvPr>
        </p:nvSpPr>
        <p:spPr>
          <a:xfrm>
            <a:off x="612000" y="415088"/>
            <a:ext cx="11269184" cy="378995"/>
          </a:xfrm>
        </p:spPr>
        <p:txBody>
          <a:bodyPr/>
          <a:lstStyle>
            <a:lvl1pPr>
              <a:defRPr sz="2400"/>
            </a:lvl1pPr>
          </a:lstStyle>
          <a:p>
            <a:r>
              <a:rPr lang="nl-NL"/>
              <a:t>Klik om een titel te maken </a:t>
            </a:r>
          </a:p>
        </p:txBody>
      </p:sp>
      <p:sp>
        <p:nvSpPr>
          <p:cNvPr id="5" name="Date Placeholder 4">
            <a:extLst>
              <a:ext uri="{FF2B5EF4-FFF2-40B4-BE49-F238E27FC236}">
                <a16:creationId xmlns:a16="http://schemas.microsoft.com/office/drawing/2014/main" id="{9FD8ACCB-A696-4112-80AF-E2396BA4101D}"/>
              </a:ext>
            </a:extLst>
          </p:cNvPr>
          <p:cNvSpPr>
            <a:spLocks noGrp="1"/>
          </p:cNvSpPr>
          <p:nvPr>
            <p:ph type="dt" sz="half" idx="14"/>
          </p:nvPr>
        </p:nvSpPr>
        <p:spPr/>
        <p:txBody>
          <a:bodyPr/>
          <a:lstStyle/>
          <a:p>
            <a:r>
              <a:rPr lang="nl-NL" noProof="0"/>
              <a:t>Den Haag • 00 maand jaar</a:t>
            </a:r>
          </a:p>
        </p:txBody>
      </p:sp>
      <p:sp>
        <p:nvSpPr>
          <p:cNvPr id="11" name="Footer Placeholder 10">
            <a:extLst>
              <a:ext uri="{FF2B5EF4-FFF2-40B4-BE49-F238E27FC236}">
                <a16:creationId xmlns:a16="http://schemas.microsoft.com/office/drawing/2014/main" id="{99AFC8C7-9FD0-4AF6-9E05-BE160F2CA15F}"/>
              </a:ext>
            </a:extLst>
          </p:cNvPr>
          <p:cNvSpPr>
            <a:spLocks noGrp="1"/>
          </p:cNvSpPr>
          <p:nvPr>
            <p:ph type="ftr" sz="quarter" idx="15"/>
          </p:nvPr>
        </p:nvSpPr>
        <p:spPr/>
        <p:txBody>
          <a:bodyPr/>
          <a:lstStyle/>
          <a:p>
            <a:r>
              <a:rPr lang="nl-NL"/>
              <a:t>PostNL voettekst</a:t>
            </a:r>
          </a:p>
        </p:txBody>
      </p:sp>
      <p:sp>
        <p:nvSpPr>
          <p:cNvPr id="12" name="Slide Number Placeholder 11">
            <a:extLst>
              <a:ext uri="{FF2B5EF4-FFF2-40B4-BE49-F238E27FC236}">
                <a16:creationId xmlns:a16="http://schemas.microsoft.com/office/drawing/2014/main" id="{FADB4560-4D8F-46DB-9A50-151D276AE881}"/>
              </a:ext>
            </a:extLst>
          </p:cNvPr>
          <p:cNvSpPr>
            <a:spLocks noGrp="1"/>
          </p:cNvSpPr>
          <p:nvPr>
            <p:ph type="sldNum" sz="quarter" idx="16"/>
          </p:nvPr>
        </p:nvSpPr>
        <p:spPr/>
        <p:txBody>
          <a:bodyPr/>
          <a:lstStyle/>
          <a:p>
            <a:fld id="{A1BC669C-0B8C-4F49-8D0F-E81255670A63}" type="slidenum">
              <a:rPr lang="nl-NL" smtClean="0"/>
              <a:pPr/>
              <a:t>‹nr.›</a:t>
            </a:fld>
            <a:endParaRPr lang="nl-NL"/>
          </a:p>
        </p:txBody>
      </p:sp>
      <p:sp>
        <p:nvSpPr>
          <p:cNvPr id="17" name="Content Placeholder 16">
            <a:extLst>
              <a:ext uri="{FF2B5EF4-FFF2-40B4-BE49-F238E27FC236}">
                <a16:creationId xmlns:a16="http://schemas.microsoft.com/office/drawing/2014/main" id="{2772E222-2B9A-4FDD-9F55-EA2403B18B57}"/>
              </a:ext>
            </a:extLst>
          </p:cNvPr>
          <p:cNvSpPr>
            <a:spLocks noGrp="1"/>
          </p:cNvSpPr>
          <p:nvPr>
            <p:ph sz="quarter" idx="17" hasCustomPrompt="1"/>
          </p:nvPr>
        </p:nvSpPr>
        <p:spPr>
          <a:xfrm>
            <a:off x="611998" y="216567"/>
            <a:ext cx="11269184" cy="180138"/>
          </a:xfrm>
        </p:spPr>
        <p:txBody>
          <a:bodyPr/>
          <a:lstStyle>
            <a:lvl1pPr>
              <a:defRPr sz="1100"/>
            </a:lvl1pPr>
          </a:lstStyle>
          <a:p>
            <a:pPr lvl="0"/>
            <a:r>
              <a:rPr lang="en-US"/>
              <a:t>Click to edit breadcrumb</a:t>
            </a:r>
          </a:p>
        </p:txBody>
      </p:sp>
      <p:sp>
        <p:nvSpPr>
          <p:cNvPr id="19" name="Text Placeholder 18">
            <a:extLst>
              <a:ext uri="{FF2B5EF4-FFF2-40B4-BE49-F238E27FC236}">
                <a16:creationId xmlns:a16="http://schemas.microsoft.com/office/drawing/2014/main" id="{FB0FB12F-FBAB-4DD7-B3D4-FBC99CED11B2}"/>
              </a:ext>
            </a:extLst>
          </p:cNvPr>
          <p:cNvSpPr>
            <a:spLocks noGrp="1"/>
          </p:cNvSpPr>
          <p:nvPr>
            <p:ph type="body" sz="quarter" idx="18"/>
          </p:nvPr>
        </p:nvSpPr>
        <p:spPr>
          <a:xfrm>
            <a:off x="612775" y="1597006"/>
            <a:ext cx="11268075" cy="42434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Tree>
    <p:extLst>
      <p:ext uri="{BB962C8B-B14F-4D97-AF65-F5344CB8AC3E}">
        <p14:creationId xmlns:p14="http://schemas.microsoft.com/office/powerpoint/2010/main" val="2011107235"/>
      </p:ext>
    </p:extLst>
  </p:cSld>
  <p:clrMapOvr>
    <a:masterClrMapping/>
  </p:clrMapOvr>
  <p:extLst>
    <p:ext uri="{DCECCB84-F9BA-43D5-87BE-67443E8EF086}">
      <p15:sldGuideLst xmlns:p15="http://schemas.microsoft.com/office/powerpoint/2012/main">
        <p15:guide id="1" orient="horz" pos="822">
          <p15:clr>
            <a:srgbClr val="FBAE40"/>
          </p15:clr>
        </p15:guide>
        <p15:guide id="2" orient="horz" pos="164">
          <p15:clr>
            <a:srgbClr val="FBAE40"/>
          </p15:clr>
        </p15:guide>
        <p15:guide id="3" pos="393">
          <p15:clr>
            <a:srgbClr val="FBAE40"/>
          </p15:clr>
        </p15:guide>
        <p15:guide id="4" pos="7491">
          <p15:clr>
            <a:srgbClr val="FBAE40"/>
          </p15:clr>
        </p15:guide>
        <p15:guide id="5" orient="horz" pos="3702">
          <p15:clr>
            <a:srgbClr val="FBAE40"/>
          </p15:clr>
        </p15:guide>
        <p15:guide id="6" orient="horz" pos="1049">
          <p15:clr>
            <a:srgbClr val="FBAE40"/>
          </p15:clr>
        </p15:guide>
        <p15:guide id="7" orient="horz" pos="93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c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7420A3E-4EE0-D09C-B071-7E67160FE355}"/>
              </a:ext>
            </a:extLst>
          </p:cNvPr>
          <p:cNvGraphicFramePr>
            <a:graphicFrameLocks noChangeAspect="1"/>
          </p:cNvGraphicFramePr>
          <p:nvPr userDrawn="1">
            <p:custDataLst>
              <p:tags r:id="rId1"/>
            </p:custDataLst>
            <p:extLst>
              <p:ext uri="{D42A27DB-BD31-4B8C-83A1-F6EECF244321}">
                <p14:modId xmlns:p14="http://schemas.microsoft.com/office/powerpoint/2010/main" val="216414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27420A3E-4EE0-D09C-B071-7E67160FE3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10"/>
          </p:nvPr>
        </p:nvSpPr>
        <p:spPr/>
        <p:txBody>
          <a:bodyPr/>
          <a:lstStyle>
            <a:lvl1pPr rtl="0">
              <a:defRPr/>
            </a:lvl1pPr>
          </a:lstStyle>
          <a:p>
            <a:r>
              <a:rPr lang="nl-NL"/>
              <a:t>PostNL voettekst</a:t>
            </a:r>
          </a:p>
        </p:txBody>
      </p:sp>
      <p:sp>
        <p:nvSpPr>
          <p:cNvPr id="7" name="Slide Number Placeholder 6"/>
          <p:cNvSpPr>
            <a:spLocks noGrp="1"/>
          </p:cNvSpPr>
          <p:nvPr>
            <p:ph type="sldNum" sz="quarter" idx="11"/>
          </p:nvPr>
        </p:nvSpPr>
        <p:spPr/>
        <p:txBody>
          <a:bodyPr/>
          <a:lstStyle>
            <a:lvl1pPr rtl="0">
              <a:defRPr/>
            </a:lvl1pPr>
          </a:lstStyle>
          <a:p>
            <a:fld id="{A1BC669C-0B8C-4F49-8D0F-E81255670A63}" type="slidenum">
              <a:rPr lang="nl-NL" smtClean="0"/>
              <a:pPr/>
              <a:t>‹nr.›</a:t>
            </a:fld>
            <a:endParaRPr lang="nl-NL"/>
          </a:p>
        </p:txBody>
      </p:sp>
      <p:sp>
        <p:nvSpPr>
          <p:cNvPr id="8" name="Date Placeholder 7"/>
          <p:cNvSpPr>
            <a:spLocks noGrp="1"/>
          </p:cNvSpPr>
          <p:nvPr>
            <p:ph type="dt" sz="half" idx="12"/>
          </p:nvPr>
        </p:nvSpPr>
        <p:spPr/>
        <p:txBody>
          <a:bodyPr/>
          <a:lstStyle>
            <a:lvl1pPr rtl="0">
              <a:defRPr/>
            </a:lvl1pPr>
          </a:lstStyle>
          <a:p>
            <a:r>
              <a:rPr lang="nl-NL"/>
              <a:t>Den Haag • 00 maand jaar</a:t>
            </a:r>
          </a:p>
        </p:txBody>
      </p:sp>
    </p:spTree>
    <p:extLst>
      <p:ext uri="{BB962C8B-B14F-4D97-AF65-F5344CB8AC3E}">
        <p14:creationId xmlns:p14="http://schemas.microsoft.com/office/powerpoint/2010/main" val="2286165740"/>
      </p:ext>
    </p:extLst>
  </p:cSld>
  <p:clrMapOvr>
    <a:masterClrMapping/>
  </p:clrMapOvr>
  <p:extLst>
    <p:ext uri="{DCECCB84-F9BA-43D5-87BE-67443E8EF086}">
      <p15:sldGuideLst xmlns:p15="http://schemas.microsoft.com/office/powerpoint/2012/main">
        <p15:guide id="1" orient="horz" pos="370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met titel">
    <p:spTree>
      <p:nvGrpSpPr>
        <p:cNvPr id="1" name=""/>
        <p:cNvGrpSpPr/>
        <p:nvPr/>
      </p:nvGrpSpPr>
      <p:grpSpPr>
        <a:xfrm>
          <a:off x="0" y="0"/>
          <a:ext cx="0" cy="0"/>
          <a:chOff x="0" y="0"/>
          <a:chExt cx="0" cy="0"/>
        </a:xfrm>
      </p:grpSpPr>
      <p:sp>
        <p:nvSpPr>
          <p:cNvPr id="14" name="Rectangle 5"/>
          <p:cNvSpPr>
            <a:spLocks noChangeArrowheads="1"/>
          </p:cNvSpPr>
          <p:nvPr userDrawn="1"/>
        </p:nvSpPr>
        <p:spPr bwMode="auto">
          <a:xfrm>
            <a:off x="3175" y="1299028"/>
            <a:ext cx="12188825" cy="4577897"/>
          </a:xfrm>
          <a:prstGeom prst="rect">
            <a:avLst/>
          </a:prstGeom>
          <a:solidFill>
            <a:srgbClr val="F3F4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5" name="Media Placeholder 18"/>
          <p:cNvSpPr>
            <a:spLocks noGrp="1"/>
          </p:cNvSpPr>
          <p:nvPr>
            <p:ph type="media" sz="quarter" idx="13" hasCustomPrompt="1"/>
          </p:nvPr>
        </p:nvSpPr>
        <p:spPr>
          <a:xfrm>
            <a:off x="3175" y="1299028"/>
            <a:ext cx="12188825" cy="4577897"/>
          </a:xfrm>
        </p:spPr>
        <p:txBody>
          <a:bodyPr lIns="360000" tIns="360000" rIns="360000" bIns="360000"/>
          <a:lstStyle>
            <a:lvl1pPr>
              <a:defRPr/>
            </a:lvl1pPr>
          </a:lstStyle>
          <a:p>
            <a:r>
              <a:rPr lang="nl-NL"/>
              <a:t>Video</a:t>
            </a:r>
          </a:p>
        </p:txBody>
      </p:sp>
      <p:sp>
        <p:nvSpPr>
          <p:cNvPr id="6" name="Footer Placeholder 5"/>
          <p:cNvSpPr>
            <a:spLocks noGrp="1"/>
          </p:cNvSpPr>
          <p:nvPr>
            <p:ph type="ftr" sz="quarter" idx="14"/>
          </p:nvPr>
        </p:nvSpPr>
        <p:spPr/>
        <p:txBody>
          <a:bodyPr/>
          <a:lstStyle/>
          <a:p>
            <a:r>
              <a:rPr lang="nl-NL"/>
              <a:t>PostNL voettekst</a:t>
            </a:r>
          </a:p>
        </p:txBody>
      </p:sp>
      <p:sp>
        <p:nvSpPr>
          <p:cNvPr id="7" name="Slide Number Placeholder 6"/>
          <p:cNvSpPr>
            <a:spLocks noGrp="1"/>
          </p:cNvSpPr>
          <p:nvPr>
            <p:ph type="sldNum" sz="quarter" idx="15"/>
          </p:nvPr>
        </p:nvSpPr>
        <p:spPr/>
        <p:txBody>
          <a:bodyPr/>
          <a:lstStyle/>
          <a:p>
            <a:fld id="{A1BC669C-0B8C-4F49-8D0F-E81255670A63}" type="slidenum">
              <a:rPr lang="nl-NL" smtClean="0"/>
              <a:pPr/>
              <a:t>‹nr.›</a:t>
            </a:fld>
            <a:endParaRPr lang="nl-NL"/>
          </a:p>
        </p:txBody>
      </p:sp>
      <p:sp>
        <p:nvSpPr>
          <p:cNvPr id="8" name="Date Placeholder 7"/>
          <p:cNvSpPr>
            <a:spLocks noGrp="1"/>
          </p:cNvSpPr>
          <p:nvPr>
            <p:ph type="dt" sz="half" idx="16"/>
          </p:nvPr>
        </p:nvSpPr>
        <p:spPr/>
        <p:txBody>
          <a:bodyPr/>
          <a:lstStyle/>
          <a:p>
            <a:r>
              <a:rPr lang="nl-NL"/>
              <a:t>Den Haag • 00 maand jaar</a:t>
            </a:r>
          </a:p>
        </p:txBody>
      </p:sp>
      <p:sp>
        <p:nvSpPr>
          <p:cNvPr id="4" name="Title 3"/>
          <p:cNvSpPr>
            <a:spLocks noGrp="1"/>
          </p:cNvSpPr>
          <p:nvPr>
            <p:ph type="title" hasCustomPrompt="1"/>
          </p:nvPr>
        </p:nvSpPr>
        <p:spPr/>
        <p:txBody>
          <a:bodyPr/>
          <a:lstStyle>
            <a:lvl1pPr>
              <a:defRPr/>
            </a:lvl1pPr>
          </a:lstStyle>
          <a:p>
            <a:r>
              <a:rPr lang="nl-NL"/>
              <a:t>Klik om een titel te maken </a:t>
            </a:r>
          </a:p>
        </p:txBody>
      </p:sp>
      <p:sp>
        <p:nvSpPr>
          <p:cNvPr id="10" name="Text Placeholder 12"/>
          <p:cNvSpPr>
            <a:spLocks noGrp="1"/>
          </p:cNvSpPr>
          <p:nvPr>
            <p:ph type="body" sz="quarter" idx="17" hasCustomPrompt="1"/>
          </p:nvPr>
        </p:nvSpPr>
        <p:spPr>
          <a:xfrm>
            <a:off x="1020000" y="847724"/>
            <a:ext cx="10152000" cy="442855"/>
          </a:xfrm>
        </p:spPr>
        <p:txBody>
          <a:bodyPr>
            <a:noAutofit/>
          </a:bodyPr>
          <a:lstStyle>
            <a:lvl1pPr>
              <a:defRPr b="1">
                <a:solidFill>
                  <a:srgbClr val="ED8C00"/>
                </a:solidFill>
              </a:defRPr>
            </a:lvl1pPr>
          </a:lstStyle>
          <a:p>
            <a:pPr lvl="0"/>
            <a:r>
              <a:rPr lang="nl-NL" noProof="0"/>
              <a:t>Klik om een subtitle te maken</a:t>
            </a:r>
          </a:p>
        </p:txBody>
      </p:sp>
    </p:spTree>
    <p:extLst>
      <p:ext uri="{BB962C8B-B14F-4D97-AF65-F5344CB8AC3E}">
        <p14:creationId xmlns:p14="http://schemas.microsoft.com/office/powerpoint/2010/main" val="3488920161"/>
      </p:ext>
    </p:extLst>
  </p:cSld>
  <p:clrMapOvr>
    <a:masterClrMapping/>
  </p:clrMapOvr>
  <p:extLst>
    <p:ext uri="{DCECCB84-F9BA-43D5-87BE-67443E8EF086}">
      <p15:sldGuideLst xmlns:p15="http://schemas.microsoft.com/office/powerpoint/2012/main">
        <p15:guide id="1" orient="horz" pos="822">
          <p15:clr>
            <a:srgbClr val="FBAE40"/>
          </p15:clr>
        </p15:guide>
        <p15:guide id="2" orient="horz" pos="164">
          <p15:clr>
            <a:srgbClr val="FBAE40"/>
          </p15:clr>
        </p15:guide>
        <p15:guide id="3" orient="horz" pos="370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Lee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22" y="2126"/>
          <a:ext cx="2116" cy="2115"/>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2122" y="2126"/>
                        <a:ext cx="2116" cy="2115"/>
                      </a:xfrm>
                      <a:prstGeom prst="rect">
                        <a:avLst/>
                      </a:prstGeom>
                    </p:spPr>
                  </p:pic>
                </p:oleObj>
              </mc:Fallback>
            </mc:AlternateContent>
          </a:graphicData>
        </a:graphic>
      </p:graphicFrame>
      <p:sp>
        <p:nvSpPr>
          <p:cNvPr id="6" name="Rectangle 15"/>
          <p:cNvSpPr>
            <a:spLocks noGrp="1" noChangeArrowheads="1"/>
          </p:cNvSpPr>
          <p:nvPr>
            <p:ph type="sldNum" sz="quarter" idx="4"/>
          </p:nvPr>
        </p:nvSpPr>
        <p:spPr bwMode="auto">
          <a:xfrm>
            <a:off x="56181" y="6584340"/>
            <a:ext cx="546100" cy="243417"/>
          </a:xfrm>
          <a:prstGeom prst="rect">
            <a:avLst/>
          </a:prstGeom>
          <a:noFill/>
          <a:ln>
            <a:noFill/>
          </a:ln>
          <a:effectLst/>
        </p:spPr>
        <p:txBody>
          <a:bodyPr vert="horz" wrap="none" lIns="0" tIns="0" rIns="0" bIns="0" numCol="1" anchor="t" anchorCtr="0" compatLnSpc="1">
            <a:prstTxWarp prst="textNoShape">
              <a:avLst/>
            </a:prstTxWarp>
          </a:bodyPr>
          <a:lstStyle>
            <a:lvl1pPr>
              <a:defRPr lang="en-GB" smtClean="0"/>
            </a:lvl1pPr>
          </a:lstStyle>
          <a:p>
            <a:pPr>
              <a:lnSpc>
                <a:spcPct val="100000"/>
              </a:lnSpc>
            </a:pPr>
            <a:fld id="{512B093E-9A76-4C31-A7FE-CA0A91378087}" type="slidenum">
              <a:rPr lang="nl-NL" smtClean="0"/>
              <a:pPr>
                <a:lnSpc>
                  <a:spcPct val="100000"/>
                </a:lnSpc>
              </a:pPr>
              <a:t>‹nr.›</a:t>
            </a:fld>
            <a:r>
              <a:rPr lang="nl-NL"/>
              <a:t> </a:t>
            </a:r>
          </a:p>
        </p:txBody>
      </p:sp>
    </p:spTree>
    <p:extLst>
      <p:ext uri="{BB962C8B-B14F-4D97-AF65-F5344CB8AC3E}">
        <p14:creationId xmlns:p14="http://schemas.microsoft.com/office/powerpoint/2010/main" val="21068710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venster rechtsboven">
    <p:bg>
      <p:bgPr>
        <a:solidFill>
          <a:srgbClr val="ADB5C5"/>
        </a:solidFill>
        <a:effectLst/>
      </p:bgPr>
    </p:bg>
    <p:spTree>
      <p:nvGrpSpPr>
        <p:cNvPr id="1" name=""/>
        <p:cNvGrpSpPr/>
        <p:nvPr/>
      </p:nvGrpSpPr>
      <p:grpSpPr>
        <a:xfrm>
          <a:off x="0" y="0"/>
          <a:ext cx="0" cy="0"/>
          <a:chOff x="0" y="0"/>
          <a:chExt cx="0" cy="0"/>
        </a:xfrm>
      </p:grpSpPr>
      <p:grpSp>
        <p:nvGrpSpPr>
          <p:cNvPr id="26" name="Group 18"/>
          <p:cNvGrpSpPr>
            <a:grpSpLocks noChangeAspect="1"/>
          </p:cNvGrpSpPr>
          <p:nvPr userDrawn="1"/>
        </p:nvGrpSpPr>
        <p:grpSpPr bwMode="auto">
          <a:xfrm>
            <a:off x="4203701" y="647700"/>
            <a:ext cx="7334250" cy="3962400"/>
            <a:chOff x="2648" y="408"/>
            <a:chExt cx="4620" cy="2496"/>
          </a:xfrm>
        </p:grpSpPr>
        <p:sp>
          <p:nvSpPr>
            <p:cNvPr id="28" name="Freeform 19"/>
            <p:cNvSpPr>
              <a:spLocks/>
            </p:cNvSpPr>
            <p:nvPr userDrawn="1"/>
          </p:nvSpPr>
          <p:spPr bwMode="auto">
            <a:xfrm>
              <a:off x="2771" y="424"/>
              <a:ext cx="4481" cy="2352"/>
            </a:xfrm>
            <a:custGeom>
              <a:avLst/>
              <a:gdLst>
                <a:gd name="T0" fmla="*/ 0 w 2243"/>
                <a:gd name="T1" fmla="*/ 1176 h 1176"/>
                <a:gd name="T2" fmla="*/ 2203 w 2243"/>
                <a:gd name="T3" fmla="*/ 1176 h 1176"/>
                <a:gd name="T4" fmla="*/ 2243 w 2243"/>
                <a:gd name="T5" fmla="*/ 1140 h 1176"/>
                <a:gd name="T6" fmla="*/ 2243 w 2243"/>
                <a:gd name="T7" fmla="*/ 44 h 1176"/>
                <a:gd name="T8" fmla="*/ 2203 w 2243"/>
                <a:gd name="T9" fmla="*/ 0 h 1176"/>
                <a:gd name="T10" fmla="*/ 48 w 2243"/>
                <a:gd name="T11" fmla="*/ 0 h 1176"/>
                <a:gd name="T12" fmla="*/ 0 w 2243"/>
                <a:gd name="T13" fmla="*/ 44 h 1176"/>
                <a:gd name="T14" fmla="*/ 0 w 2243"/>
                <a:gd name="T15" fmla="*/ 1176 h 1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3" h="1176">
                  <a:moveTo>
                    <a:pt x="0" y="1176"/>
                  </a:moveTo>
                  <a:cubicBezTo>
                    <a:pt x="2203" y="1176"/>
                    <a:pt x="2203" y="1176"/>
                    <a:pt x="2203" y="1176"/>
                  </a:cubicBezTo>
                  <a:cubicBezTo>
                    <a:pt x="2220" y="1176"/>
                    <a:pt x="2243" y="1162"/>
                    <a:pt x="2243" y="1140"/>
                  </a:cubicBezTo>
                  <a:cubicBezTo>
                    <a:pt x="2243" y="44"/>
                    <a:pt x="2243" y="44"/>
                    <a:pt x="2243" y="44"/>
                  </a:cubicBezTo>
                  <a:cubicBezTo>
                    <a:pt x="2243" y="27"/>
                    <a:pt x="2241" y="0"/>
                    <a:pt x="2203" y="0"/>
                  </a:cubicBezTo>
                  <a:cubicBezTo>
                    <a:pt x="48" y="0"/>
                    <a:pt x="48" y="0"/>
                    <a:pt x="48" y="0"/>
                  </a:cubicBezTo>
                  <a:cubicBezTo>
                    <a:pt x="32" y="0"/>
                    <a:pt x="0" y="6"/>
                    <a:pt x="0" y="44"/>
                  </a:cubicBezTo>
                  <a:lnTo>
                    <a:pt x="0" y="1176"/>
                  </a:lnTo>
                  <a:close/>
                </a:path>
              </a:pathLst>
            </a:custGeom>
            <a:solidFill>
              <a:srgbClr val="FFFFFF">
                <a:alpha val="9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9" name="Freeform 20"/>
            <p:cNvSpPr>
              <a:spLocks/>
            </p:cNvSpPr>
            <p:nvPr userDrawn="1"/>
          </p:nvSpPr>
          <p:spPr bwMode="auto">
            <a:xfrm>
              <a:off x="2648" y="2648"/>
              <a:ext cx="255" cy="256"/>
            </a:xfrm>
            <a:custGeom>
              <a:avLst/>
              <a:gdLst>
                <a:gd name="T0" fmla="*/ 106 w 128"/>
                <a:gd name="T1" fmla="*/ 128 h 128"/>
                <a:gd name="T2" fmla="*/ 128 w 128"/>
                <a:gd name="T3" fmla="*/ 107 h 128"/>
                <a:gd name="T4" fmla="*/ 128 w 128"/>
                <a:gd name="T5" fmla="*/ 21 h 128"/>
                <a:gd name="T6" fmla="*/ 106 w 128"/>
                <a:gd name="T7" fmla="*/ 0 h 128"/>
                <a:gd name="T8" fmla="*/ 21 w 128"/>
                <a:gd name="T9" fmla="*/ 0 h 128"/>
                <a:gd name="T10" fmla="*/ 0 w 128"/>
                <a:gd name="T11" fmla="*/ 21 h 128"/>
                <a:gd name="T12" fmla="*/ 0 w 128"/>
                <a:gd name="T13" fmla="*/ 128 h 128"/>
                <a:gd name="T14" fmla="*/ 106 w 128"/>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28">
                  <a:moveTo>
                    <a:pt x="106" y="128"/>
                  </a:moveTo>
                  <a:cubicBezTo>
                    <a:pt x="106" y="128"/>
                    <a:pt x="128" y="128"/>
                    <a:pt x="128" y="107"/>
                  </a:cubicBezTo>
                  <a:cubicBezTo>
                    <a:pt x="128" y="21"/>
                    <a:pt x="128" y="21"/>
                    <a:pt x="128" y="21"/>
                  </a:cubicBezTo>
                  <a:cubicBezTo>
                    <a:pt x="128" y="21"/>
                    <a:pt x="128" y="0"/>
                    <a:pt x="106" y="0"/>
                  </a:cubicBezTo>
                  <a:cubicBezTo>
                    <a:pt x="21" y="0"/>
                    <a:pt x="21" y="0"/>
                    <a:pt x="21" y="0"/>
                  </a:cubicBezTo>
                  <a:cubicBezTo>
                    <a:pt x="21" y="0"/>
                    <a:pt x="0" y="0"/>
                    <a:pt x="0" y="21"/>
                  </a:cubicBezTo>
                  <a:cubicBezTo>
                    <a:pt x="0" y="128"/>
                    <a:pt x="0" y="128"/>
                    <a:pt x="0" y="128"/>
                  </a:cubicBezTo>
                  <a:lnTo>
                    <a:pt x="106" y="128"/>
                  </a:lnTo>
                  <a:close/>
                </a:path>
              </a:pathLst>
            </a:custGeom>
            <a:solidFill>
              <a:srgbClr val="ED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30" name="Freeform 21"/>
            <p:cNvSpPr>
              <a:spLocks/>
            </p:cNvSpPr>
            <p:nvPr userDrawn="1"/>
          </p:nvSpPr>
          <p:spPr bwMode="auto">
            <a:xfrm>
              <a:off x="2771" y="2648"/>
              <a:ext cx="132" cy="128"/>
            </a:xfrm>
            <a:custGeom>
              <a:avLst/>
              <a:gdLst>
                <a:gd name="T0" fmla="*/ 66 w 66"/>
                <a:gd name="T1" fmla="*/ 64 h 64"/>
                <a:gd name="T2" fmla="*/ 66 w 66"/>
                <a:gd name="T3" fmla="*/ 21 h 64"/>
                <a:gd name="T4" fmla="*/ 44 w 66"/>
                <a:gd name="T5" fmla="*/ 0 h 64"/>
                <a:gd name="T6" fmla="*/ 0 w 66"/>
                <a:gd name="T7" fmla="*/ 0 h 64"/>
                <a:gd name="T8" fmla="*/ 0 w 66"/>
                <a:gd name="T9" fmla="*/ 64 h 64"/>
                <a:gd name="T10" fmla="*/ 66 w 66"/>
                <a:gd name="T11" fmla="*/ 64 h 64"/>
              </a:gdLst>
              <a:ahLst/>
              <a:cxnLst>
                <a:cxn ang="0">
                  <a:pos x="T0" y="T1"/>
                </a:cxn>
                <a:cxn ang="0">
                  <a:pos x="T2" y="T3"/>
                </a:cxn>
                <a:cxn ang="0">
                  <a:pos x="T4" y="T5"/>
                </a:cxn>
                <a:cxn ang="0">
                  <a:pos x="T6" y="T7"/>
                </a:cxn>
                <a:cxn ang="0">
                  <a:pos x="T8" y="T9"/>
                </a:cxn>
                <a:cxn ang="0">
                  <a:pos x="T10" y="T11"/>
                </a:cxn>
              </a:cxnLst>
              <a:rect l="0" t="0" r="r" b="b"/>
              <a:pathLst>
                <a:path w="66" h="64">
                  <a:moveTo>
                    <a:pt x="66" y="64"/>
                  </a:moveTo>
                  <a:cubicBezTo>
                    <a:pt x="66" y="21"/>
                    <a:pt x="66" y="21"/>
                    <a:pt x="66" y="21"/>
                  </a:cubicBezTo>
                  <a:cubicBezTo>
                    <a:pt x="66" y="21"/>
                    <a:pt x="66" y="0"/>
                    <a:pt x="44" y="0"/>
                  </a:cubicBezTo>
                  <a:cubicBezTo>
                    <a:pt x="0" y="0"/>
                    <a:pt x="0" y="0"/>
                    <a:pt x="0" y="0"/>
                  </a:cubicBezTo>
                  <a:cubicBezTo>
                    <a:pt x="0" y="64"/>
                    <a:pt x="0" y="64"/>
                    <a:pt x="0" y="64"/>
                  </a:cubicBezTo>
                  <a:lnTo>
                    <a:pt x="66" y="64"/>
                  </a:lnTo>
                  <a:close/>
                </a:path>
              </a:pathLst>
            </a:custGeom>
            <a:solidFill>
              <a:srgbClr val="F6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31" name="Freeform 22"/>
            <p:cNvSpPr>
              <a:spLocks/>
            </p:cNvSpPr>
            <p:nvPr userDrawn="1"/>
          </p:nvSpPr>
          <p:spPr bwMode="auto">
            <a:xfrm>
              <a:off x="2755" y="408"/>
              <a:ext cx="4513" cy="2384"/>
            </a:xfrm>
            <a:custGeom>
              <a:avLst/>
              <a:gdLst>
                <a:gd name="T0" fmla="*/ 2207 w 2259"/>
                <a:gd name="T1" fmla="*/ 1192 h 1192"/>
                <a:gd name="T2" fmla="*/ 74 w 2259"/>
                <a:gd name="T3" fmla="*/ 1192 h 1192"/>
                <a:gd name="T4" fmla="*/ 74 w 2259"/>
                <a:gd name="T5" fmla="*/ 1184 h 1192"/>
                <a:gd name="T6" fmla="*/ 2207 w 2259"/>
                <a:gd name="T7" fmla="*/ 1184 h 1192"/>
                <a:gd name="T8" fmla="*/ 2251 w 2259"/>
                <a:gd name="T9" fmla="*/ 1140 h 1192"/>
                <a:gd name="T10" fmla="*/ 2251 w 2259"/>
                <a:gd name="T11" fmla="*/ 52 h 1192"/>
                <a:gd name="T12" fmla="*/ 2207 w 2259"/>
                <a:gd name="T13" fmla="*/ 8 h 1192"/>
                <a:gd name="T14" fmla="*/ 52 w 2259"/>
                <a:gd name="T15" fmla="*/ 8 h 1192"/>
                <a:gd name="T16" fmla="*/ 8 w 2259"/>
                <a:gd name="T17" fmla="*/ 52 h 1192"/>
                <a:gd name="T18" fmla="*/ 8 w 2259"/>
                <a:gd name="T19" fmla="*/ 1055 h 1192"/>
                <a:gd name="T20" fmla="*/ 0 w 2259"/>
                <a:gd name="T21" fmla="*/ 1055 h 1192"/>
                <a:gd name="T22" fmla="*/ 0 w 2259"/>
                <a:gd name="T23" fmla="*/ 52 h 1192"/>
                <a:gd name="T24" fmla="*/ 52 w 2259"/>
                <a:gd name="T25" fmla="*/ 0 h 1192"/>
                <a:gd name="T26" fmla="*/ 2207 w 2259"/>
                <a:gd name="T27" fmla="*/ 0 h 1192"/>
                <a:gd name="T28" fmla="*/ 2259 w 2259"/>
                <a:gd name="T29" fmla="*/ 52 h 1192"/>
                <a:gd name="T30" fmla="*/ 2259 w 2259"/>
                <a:gd name="T31" fmla="*/ 1140 h 1192"/>
                <a:gd name="T32" fmla="*/ 2207 w 2259"/>
                <a:gd name="T33" fmla="*/ 1192 h 1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59" h="1192">
                  <a:moveTo>
                    <a:pt x="2207" y="1192"/>
                  </a:moveTo>
                  <a:cubicBezTo>
                    <a:pt x="74" y="1192"/>
                    <a:pt x="74" y="1192"/>
                    <a:pt x="74" y="1192"/>
                  </a:cubicBezTo>
                  <a:cubicBezTo>
                    <a:pt x="74" y="1184"/>
                    <a:pt x="74" y="1184"/>
                    <a:pt x="74" y="1184"/>
                  </a:cubicBezTo>
                  <a:cubicBezTo>
                    <a:pt x="2207" y="1184"/>
                    <a:pt x="2207" y="1184"/>
                    <a:pt x="2207" y="1184"/>
                  </a:cubicBezTo>
                  <a:cubicBezTo>
                    <a:pt x="2222" y="1184"/>
                    <a:pt x="2251" y="1175"/>
                    <a:pt x="2251" y="1140"/>
                  </a:cubicBezTo>
                  <a:cubicBezTo>
                    <a:pt x="2251" y="52"/>
                    <a:pt x="2251" y="52"/>
                    <a:pt x="2251" y="52"/>
                  </a:cubicBezTo>
                  <a:cubicBezTo>
                    <a:pt x="2251" y="37"/>
                    <a:pt x="2242" y="8"/>
                    <a:pt x="2207" y="8"/>
                  </a:cubicBezTo>
                  <a:cubicBezTo>
                    <a:pt x="52" y="8"/>
                    <a:pt x="52" y="8"/>
                    <a:pt x="52" y="8"/>
                  </a:cubicBezTo>
                  <a:cubicBezTo>
                    <a:pt x="37" y="8"/>
                    <a:pt x="8" y="17"/>
                    <a:pt x="8" y="52"/>
                  </a:cubicBezTo>
                  <a:cubicBezTo>
                    <a:pt x="8" y="1055"/>
                    <a:pt x="8" y="1055"/>
                    <a:pt x="8" y="1055"/>
                  </a:cubicBezTo>
                  <a:cubicBezTo>
                    <a:pt x="0" y="1055"/>
                    <a:pt x="0" y="1055"/>
                    <a:pt x="0" y="1055"/>
                  </a:cubicBezTo>
                  <a:cubicBezTo>
                    <a:pt x="0" y="52"/>
                    <a:pt x="0" y="52"/>
                    <a:pt x="0" y="52"/>
                  </a:cubicBezTo>
                  <a:cubicBezTo>
                    <a:pt x="0" y="11"/>
                    <a:pt x="34" y="0"/>
                    <a:pt x="52" y="0"/>
                  </a:cubicBezTo>
                  <a:cubicBezTo>
                    <a:pt x="2207" y="0"/>
                    <a:pt x="2207" y="0"/>
                    <a:pt x="2207" y="0"/>
                  </a:cubicBezTo>
                  <a:cubicBezTo>
                    <a:pt x="2248" y="0"/>
                    <a:pt x="2259" y="34"/>
                    <a:pt x="2259" y="52"/>
                  </a:cubicBezTo>
                  <a:cubicBezTo>
                    <a:pt x="2259" y="1140"/>
                    <a:pt x="2259" y="1140"/>
                    <a:pt x="2259" y="1140"/>
                  </a:cubicBezTo>
                  <a:cubicBezTo>
                    <a:pt x="2259" y="1181"/>
                    <a:pt x="2225" y="1192"/>
                    <a:pt x="2207" y="1192"/>
                  </a:cubicBezTo>
                  <a:close/>
                </a:path>
              </a:pathLst>
            </a:custGeom>
            <a:solidFill>
              <a:srgbClr val="ED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
        <p:nvSpPr>
          <p:cNvPr id="65" name="Title 64"/>
          <p:cNvSpPr>
            <a:spLocks noGrp="1"/>
          </p:cNvSpPr>
          <p:nvPr>
            <p:ph type="ctrTitle" hasCustomPrompt="1"/>
          </p:nvPr>
        </p:nvSpPr>
        <p:spPr bwMode="gray">
          <a:xfrm>
            <a:off x="4694460" y="678656"/>
            <a:ext cx="6480000" cy="2556424"/>
          </a:xfrm>
          <a:prstGeom prst="rect">
            <a:avLst/>
          </a:prstGeom>
          <a:noFill/>
        </p:spPr>
        <p:txBody>
          <a:bodyPr wrap="square" lIns="0" tIns="180000" rIns="0" anchor="t" anchorCtr="0">
            <a:noAutofit/>
          </a:bodyPr>
          <a:lstStyle>
            <a:lvl1pPr algn="l">
              <a:lnSpc>
                <a:spcPct val="90000"/>
              </a:lnSpc>
              <a:defRPr sz="5200"/>
            </a:lvl1pPr>
          </a:lstStyle>
          <a:p>
            <a:r>
              <a:rPr lang="nl-NL"/>
              <a:t>Klik om een titel te maken</a:t>
            </a:r>
          </a:p>
        </p:txBody>
      </p:sp>
      <p:pic>
        <p:nvPicPr>
          <p:cNvPr id="8" name="Picture 7"/>
          <p:cNvPicPr>
            <a:picLocks noChangeAspect="1"/>
          </p:cNvPicPr>
          <p:nvPr userDrawn="1"/>
        </p:nvPicPr>
        <p:blipFill>
          <a:blip r:embed="rId2"/>
          <a:stretch>
            <a:fillRect/>
          </a:stretch>
        </p:blipFill>
        <p:spPr bwMode="gray">
          <a:xfrm>
            <a:off x="10619182" y="5404647"/>
            <a:ext cx="1270800" cy="1270800"/>
          </a:xfrm>
          <a:prstGeom prst="rect">
            <a:avLst/>
          </a:prstGeom>
        </p:spPr>
      </p:pic>
      <p:sp>
        <p:nvSpPr>
          <p:cNvPr id="3" name="Subtitle 2"/>
          <p:cNvSpPr>
            <a:spLocks noGrp="1"/>
          </p:cNvSpPr>
          <p:nvPr userDrawn="1">
            <p:ph type="subTitle" idx="1" hasCustomPrompt="1"/>
          </p:nvPr>
        </p:nvSpPr>
        <p:spPr bwMode="gray">
          <a:xfrm>
            <a:off x="4694460" y="3438474"/>
            <a:ext cx="6480000" cy="371897"/>
          </a:xfrm>
        </p:spPr>
        <p:txBody>
          <a:bodyPr>
            <a:noAutofit/>
          </a:bodyPr>
          <a:lstStyle>
            <a:lvl1pPr marL="0" indent="0" algn="l">
              <a:buNone/>
              <a:defRPr sz="2000" b="1">
                <a:solidFill>
                  <a:srgbClr val="ED8C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een ondertitel te maken</a:t>
            </a:r>
          </a:p>
        </p:txBody>
      </p:sp>
      <p:sp>
        <p:nvSpPr>
          <p:cNvPr id="2" name="Date Placeholder 1"/>
          <p:cNvSpPr>
            <a:spLocks noGrp="1"/>
          </p:cNvSpPr>
          <p:nvPr>
            <p:ph type="dt" sz="half" idx="11"/>
          </p:nvPr>
        </p:nvSpPr>
        <p:spPr>
          <a:xfrm>
            <a:off x="4694460" y="3803788"/>
            <a:ext cx="6480000" cy="371897"/>
          </a:xfrm>
          <a:prstGeom prst="rect">
            <a:avLst/>
          </a:prstGeom>
        </p:spPr>
        <p:txBody>
          <a:bodyPr lIns="0" tIns="0" rIns="0" bIns="0">
            <a:noAutofit/>
          </a:bodyPr>
          <a:lstStyle>
            <a:lvl1pPr>
              <a:lnSpc>
                <a:spcPct val="104000"/>
              </a:lnSpc>
              <a:defRPr sz="2000">
                <a:solidFill>
                  <a:srgbClr val="ED8C00"/>
                </a:solidFill>
              </a:defRPr>
            </a:lvl1pPr>
          </a:lstStyle>
          <a:p>
            <a:r>
              <a:rPr lang="nl-NL"/>
              <a:t>Den Haag • 00 maand jaar</a:t>
            </a:r>
          </a:p>
        </p:txBody>
      </p:sp>
      <p:sp>
        <p:nvSpPr>
          <p:cNvPr id="9" name="Footer Placeholder 8"/>
          <p:cNvSpPr>
            <a:spLocks noGrp="1"/>
          </p:cNvSpPr>
          <p:nvPr>
            <p:ph type="ftr" sz="quarter" idx="12"/>
          </p:nvPr>
        </p:nvSpPr>
        <p:spPr>
          <a:xfrm rot="16200000">
            <a:off x="-3345634" y="3186000"/>
            <a:ext cx="6480000" cy="108000"/>
          </a:xfrm>
        </p:spPr>
        <p:txBody>
          <a:bodyPr>
            <a:spAutoFit/>
          </a:bodyPr>
          <a:lstStyle>
            <a:lvl1pPr>
              <a:defRPr sz="500">
                <a:solidFill>
                  <a:schemeClr val="bg1"/>
                </a:solidFill>
              </a:defRPr>
            </a:lvl1pPr>
          </a:lstStyle>
          <a:p>
            <a:r>
              <a:rPr lang="nl-NL"/>
              <a:t>PostNL voettekst</a:t>
            </a:r>
          </a:p>
        </p:txBody>
      </p:sp>
      <p:sp>
        <p:nvSpPr>
          <p:cNvPr id="10" name="Slide Number Placeholder 9"/>
          <p:cNvSpPr>
            <a:spLocks noGrp="1"/>
          </p:cNvSpPr>
          <p:nvPr>
            <p:ph type="sldNum" sz="quarter" idx="13"/>
          </p:nvPr>
        </p:nvSpPr>
        <p:spPr>
          <a:xfrm rot="16200000">
            <a:off x="-231635" y="6678000"/>
            <a:ext cx="252000" cy="108000"/>
          </a:xfrm>
        </p:spPr>
        <p:txBody>
          <a:bodyPr>
            <a:spAutoFit/>
          </a:bodyPr>
          <a:lstStyle>
            <a:lvl1pPr>
              <a:defRPr sz="500">
                <a:solidFill>
                  <a:schemeClr val="bg1"/>
                </a:solidFill>
              </a:defRPr>
            </a:lvl1pPr>
          </a:lstStyle>
          <a:p>
            <a:fld id="{A1BC669C-0B8C-4F49-8D0F-E81255670A63}" type="slidenum">
              <a:rPr lang="nl-NL" smtClean="0"/>
              <a:pPr/>
              <a:t>‹nr.›</a:t>
            </a:fld>
            <a:endParaRPr lang="nl-NL"/>
          </a:p>
        </p:txBody>
      </p:sp>
    </p:spTree>
    <p:extLst>
      <p:ext uri="{BB962C8B-B14F-4D97-AF65-F5344CB8AC3E}">
        <p14:creationId xmlns:p14="http://schemas.microsoft.com/office/powerpoint/2010/main" val="15854188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grpSp>
        <p:nvGrpSpPr>
          <p:cNvPr id="3" name="SP Agenda Section" hidden="1"/>
          <p:cNvGrpSpPr/>
          <p:nvPr userDrawn="1"/>
        </p:nvGrpSpPr>
        <p:grpSpPr>
          <a:xfrm>
            <a:off x="1797664" y="2085631"/>
            <a:ext cx="8657275" cy="369332"/>
            <a:chOff x="1797664" y="2085631"/>
            <a:chExt cx="8657274" cy="369332"/>
          </a:xfrm>
        </p:grpSpPr>
        <p:sp>
          <p:nvSpPr>
            <p:cNvPr id="20" name="Section Title" hidden="1"/>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21" name="Section Number"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t>&lt;N&gt;</a:t>
              </a:r>
            </a:p>
          </p:txBody>
        </p:sp>
        <p:sp>
          <p:nvSpPr>
            <p:cNvPr id="22" name="Slide Number"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t>&lt;P&gt;</a:t>
              </a:r>
            </a:p>
          </p:txBody>
        </p:sp>
        <p:sp>
          <p:nvSpPr>
            <p:cNvPr id="24" name="Timeslot"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t>&lt;TIMESLOT&gt;</a:t>
              </a:r>
            </a:p>
          </p:txBody>
        </p:sp>
        <p:sp>
          <p:nvSpPr>
            <p:cNvPr id="28" name="Responsible"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t>&lt;RESPONSIBLE&gt;</a:t>
              </a:r>
            </a:p>
          </p:txBody>
        </p:sp>
        <p:sp>
          <p:nvSpPr>
            <p:cNvPr id="29" name="Duration"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t>&lt;DURATION&gt;</a:t>
              </a:r>
            </a:p>
          </p:txBody>
        </p:sp>
      </p:grpSp>
      <p:grpSp>
        <p:nvGrpSpPr>
          <p:cNvPr id="4" name="SP Agenda Section Highlight" hidden="1"/>
          <p:cNvGrpSpPr>
            <a:grpSpLocks/>
          </p:cNvGrpSpPr>
          <p:nvPr userDrawn="1"/>
        </p:nvGrpSpPr>
        <p:grpSpPr>
          <a:xfrm>
            <a:off x="1797664" y="2616963"/>
            <a:ext cx="8657274" cy="369332"/>
            <a:chOff x="1797664" y="2616963"/>
            <a:chExt cx="8657274" cy="369332"/>
          </a:xfrm>
          <a:solidFill>
            <a:schemeClr val="accent1">
              <a:lumMod val="60000"/>
              <a:lumOff val="40000"/>
            </a:schemeClr>
          </a:solidFill>
        </p:grpSpPr>
        <p:sp>
          <p:nvSpPr>
            <p:cNvPr id="32" name="Section Title" hidden="1"/>
            <p:cNvSpPr txBox="1">
              <a:spLocks/>
            </p:cNvSpPr>
            <p:nvPr userDrawn="1"/>
          </p:nvSpPr>
          <p:spPr>
            <a:xfrm>
              <a:off x="2267220" y="2616963"/>
              <a:ext cx="3843347"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33" name="Section Number"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1400" b="1"/>
                <a:t>&lt;N&gt;</a:t>
              </a:r>
            </a:p>
          </p:txBody>
        </p:sp>
        <p:sp>
          <p:nvSpPr>
            <p:cNvPr id="34" name="Slide Number"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1400" b="1"/>
                <a:t>&lt;P&gt;</a:t>
              </a:r>
            </a:p>
          </p:txBody>
        </p:sp>
        <p:sp>
          <p:nvSpPr>
            <p:cNvPr id="35" name="Timeslot"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en-US" sz="1400" b="1"/>
                <a:t>&lt;TIMESLOT&gt;</a:t>
              </a:r>
            </a:p>
          </p:txBody>
        </p:sp>
        <p:sp>
          <p:nvSpPr>
            <p:cNvPr id="36" name="Responsible"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en-US" sz="1400" b="1"/>
                <a:t>&lt;RESPONSIBLE&gt;</a:t>
              </a:r>
            </a:p>
          </p:txBody>
        </p:sp>
        <p:sp>
          <p:nvSpPr>
            <p:cNvPr id="37" name="Duration"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en-US" sz="1400" b="1"/>
                <a:t>&lt;DURATION&gt;</a:t>
              </a:r>
            </a:p>
          </p:txBody>
        </p:sp>
      </p:grpSp>
      <p:grpSp>
        <p:nvGrpSpPr>
          <p:cNvPr id="8" name="SP Agenda Subsection" hidden="1"/>
          <p:cNvGrpSpPr>
            <a:grpSpLocks/>
          </p:cNvGrpSpPr>
          <p:nvPr userDrawn="1"/>
        </p:nvGrpSpPr>
        <p:grpSpPr>
          <a:xfrm>
            <a:off x="2265805" y="3148295"/>
            <a:ext cx="8189135" cy="369332"/>
            <a:chOff x="2265804" y="3155687"/>
            <a:chExt cx="8189134" cy="369332"/>
          </a:xfrm>
        </p:grpSpPr>
        <p:sp>
          <p:nvSpPr>
            <p:cNvPr id="39" name="Section Title" hidden="1"/>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40" name="Section Number"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t>&lt;N&gt;</a:t>
              </a:r>
            </a:p>
          </p:txBody>
        </p:sp>
        <p:sp>
          <p:nvSpPr>
            <p:cNvPr id="41" name="Slide Number"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t>&lt;P&gt;</a:t>
              </a:r>
            </a:p>
          </p:txBody>
        </p:sp>
        <p:sp>
          <p:nvSpPr>
            <p:cNvPr id="42" name="Timeslot"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t>&lt;TIMESLOT&gt;</a:t>
              </a:r>
            </a:p>
          </p:txBody>
        </p:sp>
        <p:sp>
          <p:nvSpPr>
            <p:cNvPr id="43" name="Responsible"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t>&lt;RESPONSIBLE&gt;</a:t>
              </a:r>
            </a:p>
          </p:txBody>
        </p:sp>
        <p:sp>
          <p:nvSpPr>
            <p:cNvPr id="44" name="Duration"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t>&lt;DURATION&gt;</a:t>
              </a:r>
            </a:p>
          </p:txBody>
        </p:sp>
      </p:grpSp>
      <p:grpSp>
        <p:nvGrpSpPr>
          <p:cNvPr id="9" name="SP Agenda Subsection Highlight" hidden="1"/>
          <p:cNvGrpSpPr>
            <a:grpSpLocks/>
          </p:cNvGrpSpPr>
          <p:nvPr userDrawn="1"/>
        </p:nvGrpSpPr>
        <p:grpSpPr>
          <a:xfrm>
            <a:off x="2265804" y="3679627"/>
            <a:ext cx="8189134" cy="369332"/>
            <a:chOff x="2265804" y="3694411"/>
            <a:chExt cx="8189134" cy="369332"/>
          </a:xfrm>
          <a:solidFill>
            <a:schemeClr val="accent1">
              <a:lumMod val="60000"/>
              <a:lumOff val="40000"/>
            </a:schemeClr>
          </a:solidFill>
        </p:grpSpPr>
        <p:sp>
          <p:nvSpPr>
            <p:cNvPr id="46" name="Section Title" hidden="1"/>
            <p:cNvSpPr txBox="1">
              <a:spLocks/>
            </p:cNvSpPr>
            <p:nvPr userDrawn="1"/>
          </p:nvSpPr>
          <p:spPr>
            <a:xfrm>
              <a:off x="2744123" y="3694411"/>
              <a:ext cx="3366444"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47" name="Section Number"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1400" b="1"/>
                <a:t>&lt;N&gt;</a:t>
              </a:r>
            </a:p>
          </p:txBody>
        </p:sp>
        <p:sp>
          <p:nvSpPr>
            <p:cNvPr id="48" name="Slide Number"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1400" b="1"/>
                <a:t>&lt;P&gt;</a:t>
              </a:r>
            </a:p>
          </p:txBody>
        </p:sp>
        <p:sp>
          <p:nvSpPr>
            <p:cNvPr id="49" name="Timeslot"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en-US" sz="1400" b="1"/>
                <a:t>&lt;TIMESLOT&gt;</a:t>
              </a:r>
            </a:p>
          </p:txBody>
        </p:sp>
        <p:sp>
          <p:nvSpPr>
            <p:cNvPr id="50" name="Responsible"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en-US" sz="1400" b="1"/>
                <a:t>&lt;RESPONSIBLE&gt;</a:t>
              </a:r>
            </a:p>
          </p:txBody>
        </p:sp>
        <p:sp>
          <p:nvSpPr>
            <p:cNvPr id="51" name="Duration"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en-US" sz="1400" b="1"/>
                <a:t>&lt;DURATION&gt;</a:t>
              </a:r>
            </a:p>
          </p:txBody>
        </p:sp>
      </p:grpSp>
      <p:sp>
        <p:nvSpPr>
          <p:cNvPr id="2" name="Title 1">
            <a:extLst>
              <a:ext uri="{FF2B5EF4-FFF2-40B4-BE49-F238E27FC236}">
                <a16:creationId xmlns:a16="http://schemas.microsoft.com/office/drawing/2014/main" id="{3D601453-3301-44D2-8B3E-D839995FA568}"/>
              </a:ext>
            </a:extLst>
          </p:cNvPr>
          <p:cNvSpPr>
            <a:spLocks noGrp="1"/>
          </p:cNvSpPr>
          <p:nvPr>
            <p:ph type="title" idx="10" hasCustomPrompt="1"/>
          </p:nvPr>
        </p:nvSpPr>
        <p:spPr/>
        <p:txBody>
          <a:bodyPr/>
          <a:lstStyle/>
          <a:p>
            <a:r>
              <a:rPr lang="en-US"/>
              <a:t>Agenda</a:t>
            </a:r>
            <a:endParaRPr lang="en-GB"/>
          </a:p>
        </p:txBody>
      </p:sp>
    </p:spTree>
    <p:extLst>
      <p:ext uri="{BB962C8B-B14F-4D97-AF65-F5344CB8AC3E}">
        <p14:creationId xmlns:p14="http://schemas.microsoft.com/office/powerpoint/2010/main" val="1293986285"/>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1284761" y="4096092"/>
            <a:ext cx="10080000" cy="369332"/>
            <a:chOff x="1797664" y="2085631"/>
            <a:chExt cx="5940745" cy="369332"/>
          </a:xfrm>
        </p:grpSpPr>
        <p:sp>
          <p:nvSpPr>
            <p:cNvPr id="72" name="Section Title"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Section Number"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Slide Number"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rgbClr val="000000">
                      <a:alpha val="0"/>
                    </a:srgbClr>
                  </a:solidFill>
                </a:rPr>
                <a:t>&lt;P&gt;</a:t>
              </a:r>
            </a:p>
          </p:txBody>
        </p:sp>
        <p:sp>
          <p:nvSpPr>
            <p:cNvPr id="75" name="Timeslot"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TIMESLOT&gt;</a:t>
              </a:r>
            </a:p>
          </p:txBody>
        </p:sp>
        <p:sp>
          <p:nvSpPr>
            <p:cNvPr id="76" name="Responsible"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RESPONSIBLE&gt;</a:t>
              </a:r>
            </a:p>
          </p:txBody>
        </p:sp>
        <p:sp>
          <p:nvSpPr>
            <p:cNvPr id="77" name="Duration"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DURATION&gt;</a:t>
              </a:r>
            </a:p>
          </p:txBody>
        </p:sp>
      </p:gr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1284761" y="4096092"/>
            <a:ext cx="10080000" cy="369332"/>
            <a:chOff x="1797664" y="2085631"/>
            <a:chExt cx="5940745" cy="369332"/>
          </a:xfrm>
        </p:grpSpPr>
        <p:sp>
          <p:nvSpPr>
            <p:cNvPr id="79" name="Section Title"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Section Number"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Slide Number"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rgbClr val="000000">
                      <a:alpha val="0"/>
                    </a:srgbClr>
                  </a:solidFill>
                </a:rPr>
                <a:t>&lt;P&gt;</a:t>
              </a:r>
            </a:p>
          </p:txBody>
        </p:sp>
        <p:sp>
          <p:nvSpPr>
            <p:cNvPr id="82" name="Timeslot"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TIMESLOT&gt;</a:t>
              </a:r>
            </a:p>
          </p:txBody>
        </p:sp>
        <p:sp>
          <p:nvSpPr>
            <p:cNvPr id="83" name="Responsible"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RESPONSIBLE&gt;</a:t>
              </a:r>
            </a:p>
          </p:txBody>
        </p:sp>
        <p:sp>
          <p:nvSpPr>
            <p:cNvPr id="84" name="Duration"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DURATION&gt;</a:t>
              </a:r>
            </a:p>
          </p:txBody>
        </p:sp>
      </p:grpSp>
    </p:spTree>
    <p:extLst>
      <p:ext uri="{BB962C8B-B14F-4D97-AF65-F5344CB8AC3E}">
        <p14:creationId xmlns:p14="http://schemas.microsoft.com/office/powerpoint/2010/main" val="1879705613"/>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 venster rechtsboven Klantlogo">
    <p:bg>
      <p:bgPr>
        <a:solidFill>
          <a:srgbClr val="ADB5C5"/>
        </a:solidFill>
        <a:effectLst/>
      </p:bgPr>
    </p:bg>
    <p:spTree>
      <p:nvGrpSpPr>
        <p:cNvPr id="1" name=""/>
        <p:cNvGrpSpPr/>
        <p:nvPr/>
      </p:nvGrpSpPr>
      <p:grpSpPr>
        <a:xfrm>
          <a:off x="0" y="0"/>
          <a:ext cx="0" cy="0"/>
          <a:chOff x="0" y="0"/>
          <a:chExt cx="0" cy="0"/>
        </a:xfrm>
      </p:grpSpPr>
      <p:grpSp>
        <p:nvGrpSpPr>
          <p:cNvPr id="26" name="Group 18"/>
          <p:cNvGrpSpPr>
            <a:grpSpLocks noChangeAspect="1"/>
          </p:cNvGrpSpPr>
          <p:nvPr userDrawn="1"/>
        </p:nvGrpSpPr>
        <p:grpSpPr bwMode="auto">
          <a:xfrm>
            <a:off x="4203701" y="647700"/>
            <a:ext cx="7334250" cy="3962400"/>
            <a:chOff x="2648" y="408"/>
            <a:chExt cx="4620" cy="2496"/>
          </a:xfrm>
        </p:grpSpPr>
        <p:sp>
          <p:nvSpPr>
            <p:cNvPr id="28" name="Freeform 19"/>
            <p:cNvSpPr>
              <a:spLocks/>
            </p:cNvSpPr>
            <p:nvPr userDrawn="1"/>
          </p:nvSpPr>
          <p:spPr bwMode="auto">
            <a:xfrm>
              <a:off x="2771" y="424"/>
              <a:ext cx="4481" cy="2352"/>
            </a:xfrm>
            <a:custGeom>
              <a:avLst/>
              <a:gdLst>
                <a:gd name="T0" fmla="*/ 0 w 2243"/>
                <a:gd name="T1" fmla="*/ 1176 h 1176"/>
                <a:gd name="T2" fmla="*/ 2203 w 2243"/>
                <a:gd name="T3" fmla="*/ 1176 h 1176"/>
                <a:gd name="T4" fmla="*/ 2243 w 2243"/>
                <a:gd name="T5" fmla="*/ 1140 h 1176"/>
                <a:gd name="T6" fmla="*/ 2243 w 2243"/>
                <a:gd name="T7" fmla="*/ 44 h 1176"/>
                <a:gd name="T8" fmla="*/ 2203 w 2243"/>
                <a:gd name="T9" fmla="*/ 0 h 1176"/>
                <a:gd name="T10" fmla="*/ 48 w 2243"/>
                <a:gd name="T11" fmla="*/ 0 h 1176"/>
                <a:gd name="T12" fmla="*/ 0 w 2243"/>
                <a:gd name="T13" fmla="*/ 44 h 1176"/>
                <a:gd name="T14" fmla="*/ 0 w 2243"/>
                <a:gd name="T15" fmla="*/ 1176 h 1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3" h="1176">
                  <a:moveTo>
                    <a:pt x="0" y="1176"/>
                  </a:moveTo>
                  <a:cubicBezTo>
                    <a:pt x="2203" y="1176"/>
                    <a:pt x="2203" y="1176"/>
                    <a:pt x="2203" y="1176"/>
                  </a:cubicBezTo>
                  <a:cubicBezTo>
                    <a:pt x="2220" y="1176"/>
                    <a:pt x="2243" y="1162"/>
                    <a:pt x="2243" y="1140"/>
                  </a:cubicBezTo>
                  <a:cubicBezTo>
                    <a:pt x="2243" y="44"/>
                    <a:pt x="2243" y="44"/>
                    <a:pt x="2243" y="44"/>
                  </a:cubicBezTo>
                  <a:cubicBezTo>
                    <a:pt x="2243" y="27"/>
                    <a:pt x="2241" y="0"/>
                    <a:pt x="2203" y="0"/>
                  </a:cubicBezTo>
                  <a:cubicBezTo>
                    <a:pt x="48" y="0"/>
                    <a:pt x="48" y="0"/>
                    <a:pt x="48" y="0"/>
                  </a:cubicBezTo>
                  <a:cubicBezTo>
                    <a:pt x="32" y="0"/>
                    <a:pt x="0" y="6"/>
                    <a:pt x="0" y="44"/>
                  </a:cubicBezTo>
                  <a:lnTo>
                    <a:pt x="0" y="1176"/>
                  </a:lnTo>
                  <a:close/>
                </a:path>
              </a:pathLst>
            </a:custGeom>
            <a:solidFill>
              <a:srgbClr val="FFFFFF">
                <a:alpha val="9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9" name="Freeform 20"/>
            <p:cNvSpPr>
              <a:spLocks/>
            </p:cNvSpPr>
            <p:nvPr userDrawn="1"/>
          </p:nvSpPr>
          <p:spPr bwMode="auto">
            <a:xfrm>
              <a:off x="2648" y="2648"/>
              <a:ext cx="255" cy="256"/>
            </a:xfrm>
            <a:custGeom>
              <a:avLst/>
              <a:gdLst>
                <a:gd name="T0" fmla="*/ 106 w 128"/>
                <a:gd name="T1" fmla="*/ 128 h 128"/>
                <a:gd name="T2" fmla="*/ 128 w 128"/>
                <a:gd name="T3" fmla="*/ 107 h 128"/>
                <a:gd name="T4" fmla="*/ 128 w 128"/>
                <a:gd name="T5" fmla="*/ 21 h 128"/>
                <a:gd name="T6" fmla="*/ 106 w 128"/>
                <a:gd name="T7" fmla="*/ 0 h 128"/>
                <a:gd name="T8" fmla="*/ 21 w 128"/>
                <a:gd name="T9" fmla="*/ 0 h 128"/>
                <a:gd name="T10" fmla="*/ 0 w 128"/>
                <a:gd name="T11" fmla="*/ 21 h 128"/>
                <a:gd name="T12" fmla="*/ 0 w 128"/>
                <a:gd name="T13" fmla="*/ 128 h 128"/>
                <a:gd name="T14" fmla="*/ 106 w 128"/>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28">
                  <a:moveTo>
                    <a:pt x="106" y="128"/>
                  </a:moveTo>
                  <a:cubicBezTo>
                    <a:pt x="106" y="128"/>
                    <a:pt x="128" y="128"/>
                    <a:pt x="128" y="107"/>
                  </a:cubicBezTo>
                  <a:cubicBezTo>
                    <a:pt x="128" y="21"/>
                    <a:pt x="128" y="21"/>
                    <a:pt x="128" y="21"/>
                  </a:cubicBezTo>
                  <a:cubicBezTo>
                    <a:pt x="128" y="21"/>
                    <a:pt x="128" y="0"/>
                    <a:pt x="106" y="0"/>
                  </a:cubicBezTo>
                  <a:cubicBezTo>
                    <a:pt x="21" y="0"/>
                    <a:pt x="21" y="0"/>
                    <a:pt x="21" y="0"/>
                  </a:cubicBezTo>
                  <a:cubicBezTo>
                    <a:pt x="21" y="0"/>
                    <a:pt x="0" y="0"/>
                    <a:pt x="0" y="21"/>
                  </a:cubicBezTo>
                  <a:cubicBezTo>
                    <a:pt x="0" y="128"/>
                    <a:pt x="0" y="128"/>
                    <a:pt x="0" y="128"/>
                  </a:cubicBezTo>
                  <a:lnTo>
                    <a:pt x="106" y="128"/>
                  </a:lnTo>
                  <a:close/>
                </a:path>
              </a:pathLst>
            </a:custGeom>
            <a:solidFill>
              <a:srgbClr val="ED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30" name="Freeform 21"/>
            <p:cNvSpPr>
              <a:spLocks/>
            </p:cNvSpPr>
            <p:nvPr userDrawn="1"/>
          </p:nvSpPr>
          <p:spPr bwMode="auto">
            <a:xfrm>
              <a:off x="2771" y="2648"/>
              <a:ext cx="132" cy="128"/>
            </a:xfrm>
            <a:custGeom>
              <a:avLst/>
              <a:gdLst>
                <a:gd name="T0" fmla="*/ 66 w 66"/>
                <a:gd name="T1" fmla="*/ 64 h 64"/>
                <a:gd name="T2" fmla="*/ 66 w 66"/>
                <a:gd name="T3" fmla="*/ 21 h 64"/>
                <a:gd name="T4" fmla="*/ 44 w 66"/>
                <a:gd name="T5" fmla="*/ 0 h 64"/>
                <a:gd name="T6" fmla="*/ 0 w 66"/>
                <a:gd name="T7" fmla="*/ 0 h 64"/>
                <a:gd name="T8" fmla="*/ 0 w 66"/>
                <a:gd name="T9" fmla="*/ 64 h 64"/>
                <a:gd name="T10" fmla="*/ 66 w 66"/>
                <a:gd name="T11" fmla="*/ 64 h 64"/>
              </a:gdLst>
              <a:ahLst/>
              <a:cxnLst>
                <a:cxn ang="0">
                  <a:pos x="T0" y="T1"/>
                </a:cxn>
                <a:cxn ang="0">
                  <a:pos x="T2" y="T3"/>
                </a:cxn>
                <a:cxn ang="0">
                  <a:pos x="T4" y="T5"/>
                </a:cxn>
                <a:cxn ang="0">
                  <a:pos x="T6" y="T7"/>
                </a:cxn>
                <a:cxn ang="0">
                  <a:pos x="T8" y="T9"/>
                </a:cxn>
                <a:cxn ang="0">
                  <a:pos x="T10" y="T11"/>
                </a:cxn>
              </a:cxnLst>
              <a:rect l="0" t="0" r="r" b="b"/>
              <a:pathLst>
                <a:path w="66" h="64">
                  <a:moveTo>
                    <a:pt x="66" y="64"/>
                  </a:moveTo>
                  <a:cubicBezTo>
                    <a:pt x="66" y="21"/>
                    <a:pt x="66" y="21"/>
                    <a:pt x="66" y="21"/>
                  </a:cubicBezTo>
                  <a:cubicBezTo>
                    <a:pt x="66" y="21"/>
                    <a:pt x="66" y="0"/>
                    <a:pt x="44" y="0"/>
                  </a:cubicBezTo>
                  <a:cubicBezTo>
                    <a:pt x="0" y="0"/>
                    <a:pt x="0" y="0"/>
                    <a:pt x="0" y="0"/>
                  </a:cubicBezTo>
                  <a:cubicBezTo>
                    <a:pt x="0" y="64"/>
                    <a:pt x="0" y="64"/>
                    <a:pt x="0" y="64"/>
                  </a:cubicBezTo>
                  <a:lnTo>
                    <a:pt x="66" y="64"/>
                  </a:lnTo>
                  <a:close/>
                </a:path>
              </a:pathLst>
            </a:custGeom>
            <a:solidFill>
              <a:srgbClr val="F6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31" name="Freeform 22"/>
            <p:cNvSpPr>
              <a:spLocks/>
            </p:cNvSpPr>
            <p:nvPr userDrawn="1"/>
          </p:nvSpPr>
          <p:spPr bwMode="auto">
            <a:xfrm>
              <a:off x="2755" y="408"/>
              <a:ext cx="4513" cy="2384"/>
            </a:xfrm>
            <a:custGeom>
              <a:avLst/>
              <a:gdLst>
                <a:gd name="T0" fmla="*/ 2207 w 2259"/>
                <a:gd name="T1" fmla="*/ 1192 h 1192"/>
                <a:gd name="T2" fmla="*/ 74 w 2259"/>
                <a:gd name="T3" fmla="*/ 1192 h 1192"/>
                <a:gd name="T4" fmla="*/ 74 w 2259"/>
                <a:gd name="T5" fmla="*/ 1184 h 1192"/>
                <a:gd name="T6" fmla="*/ 2207 w 2259"/>
                <a:gd name="T7" fmla="*/ 1184 h 1192"/>
                <a:gd name="T8" fmla="*/ 2251 w 2259"/>
                <a:gd name="T9" fmla="*/ 1140 h 1192"/>
                <a:gd name="T10" fmla="*/ 2251 w 2259"/>
                <a:gd name="T11" fmla="*/ 52 h 1192"/>
                <a:gd name="T12" fmla="*/ 2207 w 2259"/>
                <a:gd name="T13" fmla="*/ 8 h 1192"/>
                <a:gd name="T14" fmla="*/ 52 w 2259"/>
                <a:gd name="T15" fmla="*/ 8 h 1192"/>
                <a:gd name="T16" fmla="*/ 8 w 2259"/>
                <a:gd name="T17" fmla="*/ 52 h 1192"/>
                <a:gd name="T18" fmla="*/ 8 w 2259"/>
                <a:gd name="T19" fmla="*/ 1055 h 1192"/>
                <a:gd name="T20" fmla="*/ 0 w 2259"/>
                <a:gd name="T21" fmla="*/ 1055 h 1192"/>
                <a:gd name="T22" fmla="*/ 0 w 2259"/>
                <a:gd name="T23" fmla="*/ 52 h 1192"/>
                <a:gd name="T24" fmla="*/ 52 w 2259"/>
                <a:gd name="T25" fmla="*/ 0 h 1192"/>
                <a:gd name="T26" fmla="*/ 2207 w 2259"/>
                <a:gd name="T27" fmla="*/ 0 h 1192"/>
                <a:gd name="T28" fmla="*/ 2259 w 2259"/>
                <a:gd name="T29" fmla="*/ 52 h 1192"/>
                <a:gd name="T30" fmla="*/ 2259 w 2259"/>
                <a:gd name="T31" fmla="*/ 1140 h 1192"/>
                <a:gd name="T32" fmla="*/ 2207 w 2259"/>
                <a:gd name="T33" fmla="*/ 1192 h 1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59" h="1192">
                  <a:moveTo>
                    <a:pt x="2207" y="1192"/>
                  </a:moveTo>
                  <a:cubicBezTo>
                    <a:pt x="74" y="1192"/>
                    <a:pt x="74" y="1192"/>
                    <a:pt x="74" y="1192"/>
                  </a:cubicBezTo>
                  <a:cubicBezTo>
                    <a:pt x="74" y="1184"/>
                    <a:pt x="74" y="1184"/>
                    <a:pt x="74" y="1184"/>
                  </a:cubicBezTo>
                  <a:cubicBezTo>
                    <a:pt x="2207" y="1184"/>
                    <a:pt x="2207" y="1184"/>
                    <a:pt x="2207" y="1184"/>
                  </a:cubicBezTo>
                  <a:cubicBezTo>
                    <a:pt x="2222" y="1184"/>
                    <a:pt x="2251" y="1175"/>
                    <a:pt x="2251" y="1140"/>
                  </a:cubicBezTo>
                  <a:cubicBezTo>
                    <a:pt x="2251" y="52"/>
                    <a:pt x="2251" y="52"/>
                    <a:pt x="2251" y="52"/>
                  </a:cubicBezTo>
                  <a:cubicBezTo>
                    <a:pt x="2251" y="37"/>
                    <a:pt x="2242" y="8"/>
                    <a:pt x="2207" y="8"/>
                  </a:cubicBezTo>
                  <a:cubicBezTo>
                    <a:pt x="52" y="8"/>
                    <a:pt x="52" y="8"/>
                    <a:pt x="52" y="8"/>
                  </a:cubicBezTo>
                  <a:cubicBezTo>
                    <a:pt x="37" y="8"/>
                    <a:pt x="8" y="17"/>
                    <a:pt x="8" y="52"/>
                  </a:cubicBezTo>
                  <a:cubicBezTo>
                    <a:pt x="8" y="1055"/>
                    <a:pt x="8" y="1055"/>
                    <a:pt x="8" y="1055"/>
                  </a:cubicBezTo>
                  <a:cubicBezTo>
                    <a:pt x="0" y="1055"/>
                    <a:pt x="0" y="1055"/>
                    <a:pt x="0" y="1055"/>
                  </a:cubicBezTo>
                  <a:cubicBezTo>
                    <a:pt x="0" y="52"/>
                    <a:pt x="0" y="52"/>
                    <a:pt x="0" y="52"/>
                  </a:cubicBezTo>
                  <a:cubicBezTo>
                    <a:pt x="0" y="11"/>
                    <a:pt x="34" y="0"/>
                    <a:pt x="52" y="0"/>
                  </a:cubicBezTo>
                  <a:cubicBezTo>
                    <a:pt x="2207" y="0"/>
                    <a:pt x="2207" y="0"/>
                    <a:pt x="2207" y="0"/>
                  </a:cubicBezTo>
                  <a:cubicBezTo>
                    <a:pt x="2248" y="0"/>
                    <a:pt x="2259" y="34"/>
                    <a:pt x="2259" y="52"/>
                  </a:cubicBezTo>
                  <a:cubicBezTo>
                    <a:pt x="2259" y="1140"/>
                    <a:pt x="2259" y="1140"/>
                    <a:pt x="2259" y="1140"/>
                  </a:cubicBezTo>
                  <a:cubicBezTo>
                    <a:pt x="2259" y="1181"/>
                    <a:pt x="2225" y="1192"/>
                    <a:pt x="2207" y="1192"/>
                  </a:cubicBezTo>
                  <a:close/>
                </a:path>
              </a:pathLst>
            </a:custGeom>
            <a:solidFill>
              <a:srgbClr val="ED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
        <p:nvSpPr>
          <p:cNvPr id="65" name="Title 64"/>
          <p:cNvSpPr>
            <a:spLocks noGrp="1"/>
          </p:cNvSpPr>
          <p:nvPr>
            <p:ph type="ctrTitle" hasCustomPrompt="1"/>
          </p:nvPr>
        </p:nvSpPr>
        <p:spPr bwMode="gray">
          <a:xfrm>
            <a:off x="4694460" y="678656"/>
            <a:ext cx="6480000" cy="2556424"/>
          </a:xfrm>
          <a:prstGeom prst="rect">
            <a:avLst/>
          </a:prstGeom>
          <a:noFill/>
        </p:spPr>
        <p:txBody>
          <a:bodyPr wrap="square" lIns="0" tIns="180000" rIns="0" anchor="t" anchorCtr="0">
            <a:noAutofit/>
          </a:bodyPr>
          <a:lstStyle>
            <a:lvl1pPr algn="l">
              <a:lnSpc>
                <a:spcPct val="90000"/>
              </a:lnSpc>
              <a:defRPr sz="5200"/>
            </a:lvl1pPr>
          </a:lstStyle>
          <a:p>
            <a:r>
              <a:rPr lang="nl-NL"/>
              <a:t>Klik om een titel te maken</a:t>
            </a:r>
          </a:p>
        </p:txBody>
      </p:sp>
      <p:pic>
        <p:nvPicPr>
          <p:cNvPr id="8" name="Picture 7"/>
          <p:cNvPicPr>
            <a:picLocks noChangeAspect="1"/>
          </p:cNvPicPr>
          <p:nvPr userDrawn="1"/>
        </p:nvPicPr>
        <p:blipFill>
          <a:blip r:embed="rId2"/>
          <a:stretch>
            <a:fillRect/>
          </a:stretch>
        </p:blipFill>
        <p:spPr bwMode="gray">
          <a:xfrm>
            <a:off x="10619182" y="5404647"/>
            <a:ext cx="1270800" cy="1270800"/>
          </a:xfrm>
          <a:prstGeom prst="rect">
            <a:avLst/>
          </a:prstGeom>
        </p:spPr>
      </p:pic>
      <p:sp>
        <p:nvSpPr>
          <p:cNvPr id="3" name="Subtitle 2"/>
          <p:cNvSpPr>
            <a:spLocks noGrp="1"/>
          </p:cNvSpPr>
          <p:nvPr userDrawn="1">
            <p:ph type="subTitle" idx="1" hasCustomPrompt="1"/>
          </p:nvPr>
        </p:nvSpPr>
        <p:spPr bwMode="gray">
          <a:xfrm>
            <a:off x="4694460" y="3438474"/>
            <a:ext cx="6480000" cy="371897"/>
          </a:xfrm>
        </p:spPr>
        <p:txBody>
          <a:bodyPr>
            <a:noAutofit/>
          </a:bodyPr>
          <a:lstStyle>
            <a:lvl1pPr marL="0" indent="0" algn="l">
              <a:buNone/>
              <a:defRPr sz="2000" b="1">
                <a:solidFill>
                  <a:srgbClr val="ED8C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een ondertitel te maken</a:t>
            </a:r>
          </a:p>
        </p:txBody>
      </p:sp>
      <p:sp>
        <p:nvSpPr>
          <p:cNvPr id="2" name="Date Placeholder 1"/>
          <p:cNvSpPr>
            <a:spLocks noGrp="1"/>
          </p:cNvSpPr>
          <p:nvPr>
            <p:ph type="dt" sz="half" idx="11"/>
          </p:nvPr>
        </p:nvSpPr>
        <p:spPr>
          <a:xfrm>
            <a:off x="4694460" y="3803788"/>
            <a:ext cx="6480000" cy="371897"/>
          </a:xfrm>
          <a:prstGeom prst="rect">
            <a:avLst/>
          </a:prstGeom>
        </p:spPr>
        <p:txBody>
          <a:bodyPr lIns="0" tIns="0" rIns="0" bIns="0">
            <a:noAutofit/>
          </a:bodyPr>
          <a:lstStyle>
            <a:lvl1pPr>
              <a:lnSpc>
                <a:spcPct val="104000"/>
              </a:lnSpc>
              <a:defRPr sz="2000">
                <a:solidFill>
                  <a:srgbClr val="ED8C00"/>
                </a:solidFill>
              </a:defRPr>
            </a:lvl1pPr>
          </a:lstStyle>
          <a:p>
            <a:r>
              <a:rPr lang="nl-NL"/>
              <a:t>Den Haag • 00 maand jaar</a:t>
            </a:r>
          </a:p>
        </p:txBody>
      </p:sp>
      <p:sp>
        <p:nvSpPr>
          <p:cNvPr id="9" name="Footer Placeholder 8"/>
          <p:cNvSpPr>
            <a:spLocks noGrp="1"/>
          </p:cNvSpPr>
          <p:nvPr>
            <p:ph type="ftr" sz="quarter" idx="12"/>
          </p:nvPr>
        </p:nvSpPr>
        <p:spPr>
          <a:xfrm rot="16200000">
            <a:off x="-3345634" y="3186000"/>
            <a:ext cx="6480000" cy="108000"/>
          </a:xfrm>
        </p:spPr>
        <p:txBody>
          <a:bodyPr>
            <a:spAutoFit/>
          </a:bodyPr>
          <a:lstStyle>
            <a:lvl1pPr>
              <a:defRPr sz="500">
                <a:solidFill>
                  <a:schemeClr val="bg1"/>
                </a:solidFill>
              </a:defRPr>
            </a:lvl1pPr>
          </a:lstStyle>
          <a:p>
            <a:r>
              <a:rPr lang="nl-NL"/>
              <a:t>PostNL voettekst</a:t>
            </a:r>
          </a:p>
        </p:txBody>
      </p:sp>
      <p:sp>
        <p:nvSpPr>
          <p:cNvPr id="10" name="Slide Number Placeholder 9"/>
          <p:cNvSpPr>
            <a:spLocks noGrp="1"/>
          </p:cNvSpPr>
          <p:nvPr>
            <p:ph type="sldNum" sz="quarter" idx="13"/>
          </p:nvPr>
        </p:nvSpPr>
        <p:spPr>
          <a:xfrm rot="16200000">
            <a:off x="-231635" y="6678000"/>
            <a:ext cx="252000" cy="108000"/>
          </a:xfrm>
        </p:spPr>
        <p:txBody>
          <a:bodyPr>
            <a:spAutoFit/>
          </a:bodyPr>
          <a:lstStyle>
            <a:lvl1pPr>
              <a:defRPr sz="500">
                <a:solidFill>
                  <a:schemeClr val="bg1"/>
                </a:solidFill>
              </a:defRPr>
            </a:lvl1pPr>
          </a:lstStyle>
          <a:p>
            <a:fld id="{A1BC669C-0B8C-4F49-8D0F-E81255670A63}" type="slidenum">
              <a:rPr lang="nl-NL" smtClean="0"/>
              <a:pPr/>
              <a:t>‹nr.›</a:t>
            </a:fld>
            <a:endParaRPr lang="nl-NL"/>
          </a:p>
        </p:txBody>
      </p:sp>
      <p:sp>
        <p:nvSpPr>
          <p:cNvPr id="23" name="Picture Placeholder 22"/>
          <p:cNvSpPr>
            <a:spLocks noGrp="1"/>
          </p:cNvSpPr>
          <p:nvPr>
            <p:ph type="pic" sz="quarter" idx="14" hasCustomPrompt="1"/>
          </p:nvPr>
        </p:nvSpPr>
        <p:spPr bwMode="gray">
          <a:xfrm>
            <a:off x="8016385" y="5597942"/>
            <a:ext cx="2367204" cy="879059"/>
          </a:xfrm>
          <a:custGeom>
            <a:avLst/>
            <a:gdLst>
              <a:gd name="connsiteX0" fmla="*/ 141375 w 2367204"/>
              <a:gd name="connsiteY0" fmla="*/ 0 h 879059"/>
              <a:gd name="connsiteX1" fmla="*/ 2225829 w 2367204"/>
              <a:gd name="connsiteY1" fmla="*/ 0 h 879059"/>
              <a:gd name="connsiteX2" fmla="*/ 2367204 w 2367204"/>
              <a:gd name="connsiteY2" fmla="*/ 141572 h 879059"/>
              <a:gd name="connsiteX3" fmla="*/ 2367204 w 2367204"/>
              <a:gd name="connsiteY3" fmla="*/ 879059 h 879059"/>
              <a:gd name="connsiteX4" fmla="*/ 141375 w 2367204"/>
              <a:gd name="connsiteY4" fmla="*/ 879059 h 879059"/>
              <a:gd name="connsiteX5" fmla="*/ 0 w 2367204"/>
              <a:gd name="connsiteY5" fmla="*/ 737488 h 879059"/>
              <a:gd name="connsiteX6" fmla="*/ 0 w 2367204"/>
              <a:gd name="connsiteY6" fmla="*/ 141572 h 879059"/>
              <a:gd name="connsiteX7" fmla="*/ 141375 w 2367204"/>
              <a:gd name="connsiteY7" fmla="*/ 0 h 87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7204" h="879059">
                <a:moveTo>
                  <a:pt x="141375" y="0"/>
                </a:moveTo>
                <a:lnTo>
                  <a:pt x="2225829" y="0"/>
                </a:lnTo>
                <a:cubicBezTo>
                  <a:pt x="2367204" y="0"/>
                  <a:pt x="2367204" y="141572"/>
                  <a:pt x="2367204" y="141572"/>
                </a:cubicBezTo>
                <a:cubicBezTo>
                  <a:pt x="2367204" y="141572"/>
                  <a:pt x="2367204" y="141572"/>
                  <a:pt x="2367204" y="879059"/>
                </a:cubicBezTo>
                <a:cubicBezTo>
                  <a:pt x="2367204" y="879059"/>
                  <a:pt x="2367204" y="879059"/>
                  <a:pt x="141375" y="879059"/>
                </a:cubicBezTo>
                <a:cubicBezTo>
                  <a:pt x="0" y="879059"/>
                  <a:pt x="0" y="737488"/>
                  <a:pt x="0" y="737488"/>
                </a:cubicBezTo>
                <a:cubicBezTo>
                  <a:pt x="0" y="737488"/>
                  <a:pt x="0" y="737488"/>
                  <a:pt x="0" y="141572"/>
                </a:cubicBezTo>
                <a:cubicBezTo>
                  <a:pt x="0" y="0"/>
                  <a:pt x="141375" y="0"/>
                  <a:pt x="141375" y="0"/>
                </a:cubicBezTo>
                <a:close/>
              </a:path>
            </a:pathLst>
          </a:custGeom>
          <a:solidFill>
            <a:srgbClr val="FFFFFF">
              <a:alpha val="90000"/>
            </a:srgbClr>
          </a:solidFill>
        </p:spPr>
        <p:txBody>
          <a:bodyPr wrap="square" lIns="72000" tIns="72000" rIns="72000" bIns="72000">
            <a:noAutofit/>
          </a:bodyPr>
          <a:lstStyle>
            <a:lvl1pPr algn="ctr">
              <a:defRPr sz="1600"/>
            </a:lvl1pPr>
          </a:lstStyle>
          <a:p>
            <a:r>
              <a:rPr lang="nl-NL"/>
              <a:t>Klant logo</a:t>
            </a:r>
          </a:p>
        </p:txBody>
      </p:sp>
    </p:spTree>
    <p:extLst>
      <p:ext uri="{BB962C8B-B14F-4D97-AF65-F5344CB8AC3E}">
        <p14:creationId xmlns:p14="http://schemas.microsoft.com/office/powerpoint/2010/main" val="17367019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 venster linksboven">
    <p:bg>
      <p:bgPr>
        <a:solidFill>
          <a:srgbClr val="ADB5C5"/>
        </a:solidFill>
        <a:effectLst/>
      </p:bgPr>
    </p:bg>
    <p:spTree>
      <p:nvGrpSpPr>
        <p:cNvPr id="1" name=""/>
        <p:cNvGrpSpPr/>
        <p:nvPr/>
      </p:nvGrpSpPr>
      <p:grpSpPr>
        <a:xfrm>
          <a:off x="0" y="0"/>
          <a:ext cx="0" cy="0"/>
          <a:chOff x="0" y="0"/>
          <a:chExt cx="0" cy="0"/>
        </a:xfrm>
      </p:grpSpPr>
      <p:grpSp>
        <p:nvGrpSpPr>
          <p:cNvPr id="11" name="Group 18"/>
          <p:cNvGrpSpPr>
            <a:grpSpLocks noChangeAspect="1"/>
          </p:cNvGrpSpPr>
          <p:nvPr userDrawn="1"/>
        </p:nvGrpSpPr>
        <p:grpSpPr bwMode="auto">
          <a:xfrm flipH="1">
            <a:off x="646112" y="647700"/>
            <a:ext cx="7334250" cy="3962400"/>
            <a:chOff x="2648" y="408"/>
            <a:chExt cx="4620" cy="2496"/>
          </a:xfrm>
        </p:grpSpPr>
        <p:sp>
          <p:nvSpPr>
            <p:cNvPr id="12" name="Freeform 19"/>
            <p:cNvSpPr>
              <a:spLocks/>
            </p:cNvSpPr>
            <p:nvPr userDrawn="1"/>
          </p:nvSpPr>
          <p:spPr bwMode="auto">
            <a:xfrm>
              <a:off x="2771" y="424"/>
              <a:ext cx="4481" cy="2352"/>
            </a:xfrm>
            <a:custGeom>
              <a:avLst/>
              <a:gdLst>
                <a:gd name="T0" fmla="*/ 0 w 2243"/>
                <a:gd name="T1" fmla="*/ 1176 h 1176"/>
                <a:gd name="T2" fmla="*/ 2203 w 2243"/>
                <a:gd name="T3" fmla="*/ 1176 h 1176"/>
                <a:gd name="T4" fmla="*/ 2243 w 2243"/>
                <a:gd name="T5" fmla="*/ 1140 h 1176"/>
                <a:gd name="T6" fmla="*/ 2243 w 2243"/>
                <a:gd name="T7" fmla="*/ 44 h 1176"/>
                <a:gd name="T8" fmla="*/ 2203 w 2243"/>
                <a:gd name="T9" fmla="*/ 0 h 1176"/>
                <a:gd name="T10" fmla="*/ 48 w 2243"/>
                <a:gd name="T11" fmla="*/ 0 h 1176"/>
                <a:gd name="T12" fmla="*/ 0 w 2243"/>
                <a:gd name="T13" fmla="*/ 44 h 1176"/>
                <a:gd name="T14" fmla="*/ 0 w 2243"/>
                <a:gd name="T15" fmla="*/ 1176 h 1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3" h="1176">
                  <a:moveTo>
                    <a:pt x="0" y="1176"/>
                  </a:moveTo>
                  <a:cubicBezTo>
                    <a:pt x="2203" y="1176"/>
                    <a:pt x="2203" y="1176"/>
                    <a:pt x="2203" y="1176"/>
                  </a:cubicBezTo>
                  <a:cubicBezTo>
                    <a:pt x="2220" y="1176"/>
                    <a:pt x="2243" y="1162"/>
                    <a:pt x="2243" y="1140"/>
                  </a:cubicBezTo>
                  <a:cubicBezTo>
                    <a:pt x="2243" y="44"/>
                    <a:pt x="2243" y="44"/>
                    <a:pt x="2243" y="44"/>
                  </a:cubicBezTo>
                  <a:cubicBezTo>
                    <a:pt x="2243" y="27"/>
                    <a:pt x="2241" y="0"/>
                    <a:pt x="2203" y="0"/>
                  </a:cubicBezTo>
                  <a:cubicBezTo>
                    <a:pt x="48" y="0"/>
                    <a:pt x="48" y="0"/>
                    <a:pt x="48" y="0"/>
                  </a:cubicBezTo>
                  <a:cubicBezTo>
                    <a:pt x="32" y="0"/>
                    <a:pt x="0" y="6"/>
                    <a:pt x="0" y="44"/>
                  </a:cubicBezTo>
                  <a:lnTo>
                    <a:pt x="0" y="1176"/>
                  </a:lnTo>
                  <a:close/>
                </a:path>
              </a:pathLst>
            </a:custGeom>
            <a:solidFill>
              <a:srgbClr val="FFFFFF">
                <a:alpha val="9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3" name="Freeform 20"/>
            <p:cNvSpPr>
              <a:spLocks/>
            </p:cNvSpPr>
            <p:nvPr userDrawn="1"/>
          </p:nvSpPr>
          <p:spPr bwMode="auto">
            <a:xfrm>
              <a:off x="2648" y="2648"/>
              <a:ext cx="255" cy="256"/>
            </a:xfrm>
            <a:custGeom>
              <a:avLst/>
              <a:gdLst>
                <a:gd name="T0" fmla="*/ 106 w 128"/>
                <a:gd name="T1" fmla="*/ 128 h 128"/>
                <a:gd name="T2" fmla="*/ 128 w 128"/>
                <a:gd name="T3" fmla="*/ 107 h 128"/>
                <a:gd name="T4" fmla="*/ 128 w 128"/>
                <a:gd name="T5" fmla="*/ 21 h 128"/>
                <a:gd name="T6" fmla="*/ 106 w 128"/>
                <a:gd name="T7" fmla="*/ 0 h 128"/>
                <a:gd name="T8" fmla="*/ 21 w 128"/>
                <a:gd name="T9" fmla="*/ 0 h 128"/>
                <a:gd name="T10" fmla="*/ 0 w 128"/>
                <a:gd name="T11" fmla="*/ 21 h 128"/>
                <a:gd name="T12" fmla="*/ 0 w 128"/>
                <a:gd name="T13" fmla="*/ 128 h 128"/>
                <a:gd name="T14" fmla="*/ 106 w 128"/>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28">
                  <a:moveTo>
                    <a:pt x="106" y="128"/>
                  </a:moveTo>
                  <a:cubicBezTo>
                    <a:pt x="106" y="128"/>
                    <a:pt x="128" y="128"/>
                    <a:pt x="128" y="107"/>
                  </a:cubicBezTo>
                  <a:cubicBezTo>
                    <a:pt x="128" y="21"/>
                    <a:pt x="128" y="21"/>
                    <a:pt x="128" y="21"/>
                  </a:cubicBezTo>
                  <a:cubicBezTo>
                    <a:pt x="128" y="21"/>
                    <a:pt x="128" y="0"/>
                    <a:pt x="106" y="0"/>
                  </a:cubicBezTo>
                  <a:cubicBezTo>
                    <a:pt x="21" y="0"/>
                    <a:pt x="21" y="0"/>
                    <a:pt x="21" y="0"/>
                  </a:cubicBezTo>
                  <a:cubicBezTo>
                    <a:pt x="21" y="0"/>
                    <a:pt x="0" y="0"/>
                    <a:pt x="0" y="21"/>
                  </a:cubicBezTo>
                  <a:cubicBezTo>
                    <a:pt x="0" y="128"/>
                    <a:pt x="0" y="128"/>
                    <a:pt x="0" y="128"/>
                  </a:cubicBezTo>
                  <a:lnTo>
                    <a:pt x="106" y="128"/>
                  </a:lnTo>
                  <a:close/>
                </a:path>
              </a:pathLst>
            </a:custGeom>
            <a:solidFill>
              <a:srgbClr val="ED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4" name="Freeform 21"/>
            <p:cNvSpPr>
              <a:spLocks/>
            </p:cNvSpPr>
            <p:nvPr userDrawn="1"/>
          </p:nvSpPr>
          <p:spPr bwMode="auto">
            <a:xfrm>
              <a:off x="2771" y="2648"/>
              <a:ext cx="132" cy="128"/>
            </a:xfrm>
            <a:custGeom>
              <a:avLst/>
              <a:gdLst>
                <a:gd name="T0" fmla="*/ 66 w 66"/>
                <a:gd name="T1" fmla="*/ 64 h 64"/>
                <a:gd name="T2" fmla="*/ 66 w 66"/>
                <a:gd name="T3" fmla="*/ 21 h 64"/>
                <a:gd name="T4" fmla="*/ 44 w 66"/>
                <a:gd name="T5" fmla="*/ 0 h 64"/>
                <a:gd name="T6" fmla="*/ 0 w 66"/>
                <a:gd name="T7" fmla="*/ 0 h 64"/>
                <a:gd name="T8" fmla="*/ 0 w 66"/>
                <a:gd name="T9" fmla="*/ 64 h 64"/>
                <a:gd name="T10" fmla="*/ 66 w 66"/>
                <a:gd name="T11" fmla="*/ 64 h 64"/>
              </a:gdLst>
              <a:ahLst/>
              <a:cxnLst>
                <a:cxn ang="0">
                  <a:pos x="T0" y="T1"/>
                </a:cxn>
                <a:cxn ang="0">
                  <a:pos x="T2" y="T3"/>
                </a:cxn>
                <a:cxn ang="0">
                  <a:pos x="T4" y="T5"/>
                </a:cxn>
                <a:cxn ang="0">
                  <a:pos x="T6" y="T7"/>
                </a:cxn>
                <a:cxn ang="0">
                  <a:pos x="T8" y="T9"/>
                </a:cxn>
                <a:cxn ang="0">
                  <a:pos x="T10" y="T11"/>
                </a:cxn>
              </a:cxnLst>
              <a:rect l="0" t="0" r="r" b="b"/>
              <a:pathLst>
                <a:path w="66" h="64">
                  <a:moveTo>
                    <a:pt x="66" y="64"/>
                  </a:moveTo>
                  <a:cubicBezTo>
                    <a:pt x="66" y="21"/>
                    <a:pt x="66" y="21"/>
                    <a:pt x="66" y="21"/>
                  </a:cubicBezTo>
                  <a:cubicBezTo>
                    <a:pt x="66" y="21"/>
                    <a:pt x="66" y="0"/>
                    <a:pt x="44" y="0"/>
                  </a:cubicBezTo>
                  <a:cubicBezTo>
                    <a:pt x="0" y="0"/>
                    <a:pt x="0" y="0"/>
                    <a:pt x="0" y="0"/>
                  </a:cubicBezTo>
                  <a:cubicBezTo>
                    <a:pt x="0" y="64"/>
                    <a:pt x="0" y="64"/>
                    <a:pt x="0" y="64"/>
                  </a:cubicBezTo>
                  <a:lnTo>
                    <a:pt x="66" y="64"/>
                  </a:lnTo>
                  <a:close/>
                </a:path>
              </a:pathLst>
            </a:custGeom>
            <a:solidFill>
              <a:srgbClr val="F6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5" name="Freeform 22"/>
            <p:cNvSpPr>
              <a:spLocks/>
            </p:cNvSpPr>
            <p:nvPr userDrawn="1"/>
          </p:nvSpPr>
          <p:spPr bwMode="auto">
            <a:xfrm>
              <a:off x="2755" y="408"/>
              <a:ext cx="4513" cy="2384"/>
            </a:xfrm>
            <a:custGeom>
              <a:avLst/>
              <a:gdLst>
                <a:gd name="T0" fmla="*/ 2207 w 2259"/>
                <a:gd name="T1" fmla="*/ 1192 h 1192"/>
                <a:gd name="T2" fmla="*/ 74 w 2259"/>
                <a:gd name="T3" fmla="*/ 1192 h 1192"/>
                <a:gd name="T4" fmla="*/ 74 w 2259"/>
                <a:gd name="T5" fmla="*/ 1184 h 1192"/>
                <a:gd name="T6" fmla="*/ 2207 w 2259"/>
                <a:gd name="T7" fmla="*/ 1184 h 1192"/>
                <a:gd name="T8" fmla="*/ 2251 w 2259"/>
                <a:gd name="T9" fmla="*/ 1140 h 1192"/>
                <a:gd name="T10" fmla="*/ 2251 w 2259"/>
                <a:gd name="T11" fmla="*/ 52 h 1192"/>
                <a:gd name="T12" fmla="*/ 2207 w 2259"/>
                <a:gd name="T13" fmla="*/ 8 h 1192"/>
                <a:gd name="T14" fmla="*/ 52 w 2259"/>
                <a:gd name="T15" fmla="*/ 8 h 1192"/>
                <a:gd name="T16" fmla="*/ 8 w 2259"/>
                <a:gd name="T17" fmla="*/ 52 h 1192"/>
                <a:gd name="T18" fmla="*/ 8 w 2259"/>
                <a:gd name="T19" fmla="*/ 1055 h 1192"/>
                <a:gd name="T20" fmla="*/ 0 w 2259"/>
                <a:gd name="T21" fmla="*/ 1055 h 1192"/>
                <a:gd name="T22" fmla="*/ 0 w 2259"/>
                <a:gd name="T23" fmla="*/ 52 h 1192"/>
                <a:gd name="T24" fmla="*/ 52 w 2259"/>
                <a:gd name="T25" fmla="*/ 0 h 1192"/>
                <a:gd name="T26" fmla="*/ 2207 w 2259"/>
                <a:gd name="T27" fmla="*/ 0 h 1192"/>
                <a:gd name="T28" fmla="*/ 2259 w 2259"/>
                <a:gd name="T29" fmla="*/ 52 h 1192"/>
                <a:gd name="T30" fmla="*/ 2259 w 2259"/>
                <a:gd name="T31" fmla="*/ 1140 h 1192"/>
                <a:gd name="T32" fmla="*/ 2207 w 2259"/>
                <a:gd name="T33" fmla="*/ 1192 h 1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59" h="1192">
                  <a:moveTo>
                    <a:pt x="2207" y="1192"/>
                  </a:moveTo>
                  <a:cubicBezTo>
                    <a:pt x="74" y="1192"/>
                    <a:pt x="74" y="1192"/>
                    <a:pt x="74" y="1192"/>
                  </a:cubicBezTo>
                  <a:cubicBezTo>
                    <a:pt x="74" y="1184"/>
                    <a:pt x="74" y="1184"/>
                    <a:pt x="74" y="1184"/>
                  </a:cubicBezTo>
                  <a:cubicBezTo>
                    <a:pt x="2207" y="1184"/>
                    <a:pt x="2207" y="1184"/>
                    <a:pt x="2207" y="1184"/>
                  </a:cubicBezTo>
                  <a:cubicBezTo>
                    <a:pt x="2222" y="1184"/>
                    <a:pt x="2251" y="1175"/>
                    <a:pt x="2251" y="1140"/>
                  </a:cubicBezTo>
                  <a:cubicBezTo>
                    <a:pt x="2251" y="52"/>
                    <a:pt x="2251" y="52"/>
                    <a:pt x="2251" y="52"/>
                  </a:cubicBezTo>
                  <a:cubicBezTo>
                    <a:pt x="2251" y="37"/>
                    <a:pt x="2242" y="8"/>
                    <a:pt x="2207" y="8"/>
                  </a:cubicBezTo>
                  <a:cubicBezTo>
                    <a:pt x="52" y="8"/>
                    <a:pt x="52" y="8"/>
                    <a:pt x="52" y="8"/>
                  </a:cubicBezTo>
                  <a:cubicBezTo>
                    <a:pt x="37" y="8"/>
                    <a:pt x="8" y="17"/>
                    <a:pt x="8" y="52"/>
                  </a:cubicBezTo>
                  <a:cubicBezTo>
                    <a:pt x="8" y="1055"/>
                    <a:pt x="8" y="1055"/>
                    <a:pt x="8" y="1055"/>
                  </a:cubicBezTo>
                  <a:cubicBezTo>
                    <a:pt x="0" y="1055"/>
                    <a:pt x="0" y="1055"/>
                    <a:pt x="0" y="1055"/>
                  </a:cubicBezTo>
                  <a:cubicBezTo>
                    <a:pt x="0" y="52"/>
                    <a:pt x="0" y="52"/>
                    <a:pt x="0" y="52"/>
                  </a:cubicBezTo>
                  <a:cubicBezTo>
                    <a:pt x="0" y="11"/>
                    <a:pt x="34" y="0"/>
                    <a:pt x="52" y="0"/>
                  </a:cubicBezTo>
                  <a:cubicBezTo>
                    <a:pt x="2207" y="0"/>
                    <a:pt x="2207" y="0"/>
                    <a:pt x="2207" y="0"/>
                  </a:cubicBezTo>
                  <a:cubicBezTo>
                    <a:pt x="2248" y="0"/>
                    <a:pt x="2259" y="34"/>
                    <a:pt x="2259" y="52"/>
                  </a:cubicBezTo>
                  <a:cubicBezTo>
                    <a:pt x="2259" y="1140"/>
                    <a:pt x="2259" y="1140"/>
                    <a:pt x="2259" y="1140"/>
                  </a:cubicBezTo>
                  <a:cubicBezTo>
                    <a:pt x="2259" y="1181"/>
                    <a:pt x="2225" y="1192"/>
                    <a:pt x="2207" y="1192"/>
                  </a:cubicBezTo>
                  <a:close/>
                </a:path>
              </a:pathLst>
            </a:custGeom>
            <a:solidFill>
              <a:srgbClr val="ED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
        <p:nvSpPr>
          <p:cNvPr id="65" name="Title 64"/>
          <p:cNvSpPr>
            <a:spLocks noGrp="1"/>
          </p:cNvSpPr>
          <p:nvPr>
            <p:ph type="ctrTitle" hasCustomPrompt="1"/>
          </p:nvPr>
        </p:nvSpPr>
        <p:spPr bwMode="gray">
          <a:xfrm flipH="1">
            <a:off x="957484" y="678656"/>
            <a:ext cx="6480000" cy="2556424"/>
          </a:xfrm>
          <a:prstGeom prst="rect">
            <a:avLst/>
          </a:prstGeom>
          <a:noFill/>
        </p:spPr>
        <p:txBody>
          <a:bodyPr wrap="square" lIns="0" tIns="180000" rIns="0" anchor="t" anchorCtr="0">
            <a:noAutofit/>
          </a:bodyPr>
          <a:lstStyle>
            <a:lvl1pPr algn="l">
              <a:lnSpc>
                <a:spcPct val="90000"/>
              </a:lnSpc>
              <a:defRPr sz="5200"/>
            </a:lvl1pPr>
          </a:lstStyle>
          <a:p>
            <a:r>
              <a:rPr lang="nl-NL"/>
              <a:t>Klik om een titel te maken</a:t>
            </a:r>
          </a:p>
        </p:txBody>
      </p:sp>
      <p:pic>
        <p:nvPicPr>
          <p:cNvPr id="8" name="Picture 7"/>
          <p:cNvPicPr>
            <a:picLocks noChangeAspect="1"/>
          </p:cNvPicPr>
          <p:nvPr userDrawn="1"/>
        </p:nvPicPr>
        <p:blipFill>
          <a:blip r:embed="rId2"/>
          <a:stretch>
            <a:fillRect/>
          </a:stretch>
        </p:blipFill>
        <p:spPr bwMode="gray">
          <a:xfrm>
            <a:off x="10619182" y="5404647"/>
            <a:ext cx="1270800" cy="1270800"/>
          </a:xfrm>
          <a:prstGeom prst="rect">
            <a:avLst/>
          </a:prstGeom>
        </p:spPr>
      </p:pic>
      <p:sp>
        <p:nvSpPr>
          <p:cNvPr id="3" name="Subtitle 2"/>
          <p:cNvSpPr>
            <a:spLocks noGrp="1"/>
          </p:cNvSpPr>
          <p:nvPr userDrawn="1">
            <p:ph type="subTitle" idx="1" hasCustomPrompt="1"/>
          </p:nvPr>
        </p:nvSpPr>
        <p:spPr bwMode="gray">
          <a:xfrm>
            <a:off x="957484" y="3438474"/>
            <a:ext cx="6480000" cy="371897"/>
          </a:xfrm>
        </p:spPr>
        <p:txBody>
          <a:bodyPr>
            <a:noAutofit/>
          </a:bodyPr>
          <a:lstStyle>
            <a:lvl1pPr marL="0" indent="0" algn="l">
              <a:buNone/>
              <a:defRPr sz="2000" b="1">
                <a:solidFill>
                  <a:srgbClr val="ED8C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een ondertitel te maken</a:t>
            </a:r>
          </a:p>
        </p:txBody>
      </p:sp>
      <p:sp>
        <p:nvSpPr>
          <p:cNvPr id="16" name="Date Placeholder 1"/>
          <p:cNvSpPr>
            <a:spLocks noGrp="1"/>
          </p:cNvSpPr>
          <p:nvPr>
            <p:ph type="dt" sz="half" idx="11"/>
          </p:nvPr>
        </p:nvSpPr>
        <p:spPr>
          <a:xfrm>
            <a:off x="957484" y="3803788"/>
            <a:ext cx="6480000" cy="371897"/>
          </a:xfrm>
          <a:prstGeom prst="rect">
            <a:avLst/>
          </a:prstGeom>
        </p:spPr>
        <p:txBody>
          <a:bodyPr lIns="0" tIns="0" rIns="0" bIns="0">
            <a:noAutofit/>
          </a:bodyPr>
          <a:lstStyle>
            <a:lvl1pPr>
              <a:lnSpc>
                <a:spcPct val="104000"/>
              </a:lnSpc>
              <a:defRPr sz="2000">
                <a:solidFill>
                  <a:srgbClr val="ED8C00"/>
                </a:solidFill>
              </a:defRPr>
            </a:lvl1pPr>
          </a:lstStyle>
          <a:p>
            <a:r>
              <a:rPr lang="nl-NL"/>
              <a:t>Den Haag • 00 maand jaar</a:t>
            </a:r>
          </a:p>
        </p:txBody>
      </p:sp>
      <p:sp>
        <p:nvSpPr>
          <p:cNvPr id="20" name="Footer Placeholder 8"/>
          <p:cNvSpPr>
            <a:spLocks noGrp="1"/>
          </p:cNvSpPr>
          <p:nvPr>
            <p:ph type="ftr" sz="quarter" idx="12"/>
          </p:nvPr>
        </p:nvSpPr>
        <p:spPr>
          <a:xfrm rot="16200000">
            <a:off x="-3345634" y="3186000"/>
            <a:ext cx="6480000" cy="108000"/>
          </a:xfrm>
        </p:spPr>
        <p:txBody>
          <a:bodyPr>
            <a:spAutoFit/>
          </a:bodyPr>
          <a:lstStyle>
            <a:lvl1pPr>
              <a:defRPr sz="500">
                <a:solidFill>
                  <a:schemeClr val="bg1"/>
                </a:solidFill>
              </a:defRPr>
            </a:lvl1pPr>
          </a:lstStyle>
          <a:p>
            <a:r>
              <a:rPr lang="nl-NL"/>
              <a:t>PostNL voettekst</a:t>
            </a:r>
          </a:p>
        </p:txBody>
      </p:sp>
      <p:sp>
        <p:nvSpPr>
          <p:cNvPr id="21" name="Slide Number Placeholder 9"/>
          <p:cNvSpPr>
            <a:spLocks noGrp="1"/>
          </p:cNvSpPr>
          <p:nvPr>
            <p:ph type="sldNum" sz="quarter" idx="13"/>
          </p:nvPr>
        </p:nvSpPr>
        <p:spPr>
          <a:xfrm rot="16200000">
            <a:off x="-231635" y="6678000"/>
            <a:ext cx="252000" cy="108000"/>
          </a:xfrm>
        </p:spPr>
        <p:txBody>
          <a:bodyPr>
            <a:spAutoFit/>
          </a:bodyPr>
          <a:lstStyle>
            <a:lvl1pPr>
              <a:defRPr sz="500">
                <a:solidFill>
                  <a:schemeClr val="bg1"/>
                </a:solidFill>
              </a:defRPr>
            </a:lvl1pPr>
          </a:lstStyle>
          <a:p>
            <a:fld id="{A1BC669C-0B8C-4F49-8D0F-E81255670A63}" type="slidenum">
              <a:rPr lang="nl-NL" smtClean="0"/>
              <a:pPr/>
              <a:t>‹nr.›</a:t>
            </a:fld>
            <a:endParaRPr lang="nl-NL"/>
          </a:p>
        </p:txBody>
      </p:sp>
    </p:spTree>
    <p:extLst>
      <p:ext uri="{BB962C8B-B14F-4D97-AF65-F5344CB8AC3E}">
        <p14:creationId xmlns:p14="http://schemas.microsoft.com/office/powerpoint/2010/main" val="25062270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 venster linksonder">
    <p:bg>
      <p:bgPr>
        <a:solidFill>
          <a:srgbClr val="ADB5C5"/>
        </a:solidFill>
        <a:effectLst/>
      </p:bgPr>
    </p:bg>
    <p:spTree>
      <p:nvGrpSpPr>
        <p:cNvPr id="1" name=""/>
        <p:cNvGrpSpPr/>
        <p:nvPr/>
      </p:nvGrpSpPr>
      <p:grpSpPr>
        <a:xfrm>
          <a:off x="0" y="0"/>
          <a:ext cx="0" cy="0"/>
          <a:chOff x="0" y="0"/>
          <a:chExt cx="0" cy="0"/>
        </a:xfrm>
      </p:grpSpPr>
      <p:grpSp>
        <p:nvGrpSpPr>
          <p:cNvPr id="11" name="Group 18"/>
          <p:cNvGrpSpPr>
            <a:grpSpLocks noChangeAspect="1"/>
          </p:cNvGrpSpPr>
          <p:nvPr userDrawn="1"/>
        </p:nvGrpSpPr>
        <p:grpSpPr bwMode="auto">
          <a:xfrm flipH="1" flipV="1">
            <a:off x="646112" y="2203450"/>
            <a:ext cx="7334250" cy="3962400"/>
            <a:chOff x="2648" y="408"/>
            <a:chExt cx="4620" cy="2496"/>
          </a:xfrm>
        </p:grpSpPr>
        <p:sp>
          <p:nvSpPr>
            <p:cNvPr id="13" name="Freeform 19"/>
            <p:cNvSpPr>
              <a:spLocks/>
            </p:cNvSpPr>
            <p:nvPr userDrawn="1"/>
          </p:nvSpPr>
          <p:spPr bwMode="auto">
            <a:xfrm>
              <a:off x="2771" y="424"/>
              <a:ext cx="4481" cy="2352"/>
            </a:xfrm>
            <a:custGeom>
              <a:avLst/>
              <a:gdLst>
                <a:gd name="T0" fmla="*/ 0 w 2243"/>
                <a:gd name="T1" fmla="*/ 1176 h 1176"/>
                <a:gd name="T2" fmla="*/ 2203 w 2243"/>
                <a:gd name="T3" fmla="*/ 1176 h 1176"/>
                <a:gd name="T4" fmla="*/ 2243 w 2243"/>
                <a:gd name="T5" fmla="*/ 1140 h 1176"/>
                <a:gd name="T6" fmla="*/ 2243 w 2243"/>
                <a:gd name="T7" fmla="*/ 44 h 1176"/>
                <a:gd name="T8" fmla="*/ 2203 w 2243"/>
                <a:gd name="T9" fmla="*/ 0 h 1176"/>
                <a:gd name="T10" fmla="*/ 48 w 2243"/>
                <a:gd name="T11" fmla="*/ 0 h 1176"/>
                <a:gd name="T12" fmla="*/ 0 w 2243"/>
                <a:gd name="T13" fmla="*/ 44 h 1176"/>
                <a:gd name="T14" fmla="*/ 0 w 2243"/>
                <a:gd name="T15" fmla="*/ 1176 h 1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3" h="1176">
                  <a:moveTo>
                    <a:pt x="0" y="1176"/>
                  </a:moveTo>
                  <a:cubicBezTo>
                    <a:pt x="2203" y="1176"/>
                    <a:pt x="2203" y="1176"/>
                    <a:pt x="2203" y="1176"/>
                  </a:cubicBezTo>
                  <a:cubicBezTo>
                    <a:pt x="2220" y="1176"/>
                    <a:pt x="2243" y="1162"/>
                    <a:pt x="2243" y="1140"/>
                  </a:cubicBezTo>
                  <a:cubicBezTo>
                    <a:pt x="2243" y="44"/>
                    <a:pt x="2243" y="44"/>
                    <a:pt x="2243" y="44"/>
                  </a:cubicBezTo>
                  <a:cubicBezTo>
                    <a:pt x="2243" y="27"/>
                    <a:pt x="2241" y="0"/>
                    <a:pt x="2203" y="0"/>
                  </a:cubicBezTo>
                  <a:cubicBezTo>
                    <a:pt x="48" y="0"/>
                    <a:pt x="48" y="0"/>
                    <a:pt x="48" y="0"/>
                  </a:cubicBezTo>
                  <a:cubicBezTo>
                    <a:pt x="32" y="0"/>
                    <a:pt x="0" y="6"/>
                    <a:pt x="0" y="44"/>
                  </a:cubicBezTo>
                  <a:lnTo>
                    <a:pt x="0" y="1176"/>
                  </a:lnTo>
                  <a:close/>
                </a:path>
              </a:pathLst>
            </a:custGeom>
            <a:solidFill>
              <a:srgbClr val="FFFFFF">
                <a:alpha val="9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4" name="Freeform 20"/>
            <p:cNvSpPr>
              <a:spLocks/>
            </p:cNvSpPr>
            <p:nvPr userDrawn="1"/>
          </p:nvSpPr>
          <p:spPr bwMode="auto">
            <a:xfrm>
              <a:off x="2648" y="2648"/>
              <a:ext cx="255" cy="256"/>
            </a:xfrm>
            <a:custGeom>
              <a:avLst/>
              <a:gdLst>
                <a:gd name="T0" fmla="*/ 106 w 128"/>
                <a:gd name="T1" fmla="*/ 128 h 128"/>
                <a:gd name="T2" fmla="*/ 128 w 128"/>
                <a:gd name="T3" fmla="*/ 107 h 128"/>
                <a:gd name="T4" fmla="*/ 128 w 128"/>
                <a:gd name="T5" fmla="*/ 21 h 128"/>
                <a:gd name="T6" fmla="*/ 106 w 128"/>
                <a:gd name="T7" fmla="*/ 0 h 128"/>
                <a:gd name="T8" fmla="*/ 21 w 128"/>
                <a:gd name="T9" fmla="*/ 0 h 128"/>
                <a:gd name="T10" fmla="*/ 0 w 128"/>
                <a:gd name="T11" fmla="*/ 21 h 128"/>
                <a:gd name="T12" fmla="*/ 0 w 128"/>
                <a:gd name="T13" fmla="*/ 128 h 128"/>
                <a:gd name="T14" fmla="*/ 106 w 128"/>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28">
                  <a:moveTo>
                    <a:pt x="106" y="128"/>
                  </a:moveTo>
                  <a:cubicBezTo>
                    <a:pt x="106" y="128"/>
                    <a:pt x="128" y="128"/>
                    <a:pt x="128" y="107"/>
                  </a:cubicBezTo>
                  <a:cubicBezTo>
                    <a:pt x="128" y="21"/>
                    <a:pt x="128" y="21"/>
                    <a:pt x="128" y="21"/>
                  </a:cubicBezTo>
                  <a:cubicBezTo>
                    <a:pt x="128" y="21"/>
                    <a:pt x="128" y="0"/>
                    <a:pt x="106" y="0"/>
                  </a:cubicBezTo>
                  <a:cubicBezTo>
                    <a:pt x="21" y="0"/>
                    <a:pt x="21" y="0"/>
                    <a:pt x="21" y="0"/>
                  </a:cubicBezTo>
                  <a:cubicBezTo>
                    <a:pt x="21" y="0"/>
                    <a:pt x="0" y="0"/>
                    <a:pt x="0" y="21"/>
                  </a:cubicBezTo>
                  <a:cubicBezTo>
                    <a:pt x="0" y="128"/>
                    <a:pt x="0" y="128"/>
                    <a:pt x="0" y="128"/>
                  </a:cubicBezTo>
                  <a:lnTo>
                    <a:pt x="106" y="128"/>
                  </a:lnTo>
                  <a:close/>
                </a:path>
              </a:pathLst>
            </a:custGeom>
            <a:solidFill>
              <a:srgbClr val="ED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5" name="Freeform 21"/>
            <p:cNvSpPr>
              <a:spLocks/>
            </p:cNvSpPr>
            <p:nvPr userDrawn="1"/>
          </p:nvSpPr>
          <p:spPr bwMode="auto">
            <a:xfrm>
              <a:off x="2771" y="2648"/>
              <a:ext cx="132" cy="128"/>
            </a:xfrm>
            <a:custGeom>
              <a:avLst/>
              <a:gdLst>
                <a:gd name="T0" fmla="*/ 66 w 66"/>
                <a:gd name="T1" fmla="*/ 64 h 64"/>
                <a:gd name="T2" fmla="*/ 66 w 66"/>
                <a:gd name="T3" fmla="*/ 21 h 64"/>
                <a:gd name="T4" fmla="*/ 44 w 66"/>
                <a:gd name="T5" fmla="*/ 0 h 64"/>
                <a:gd name="T6" fmla="*/ 0 w 66"/>
                <a:gd name="T7" fmla="*/ 0 h 64"/>
                <a:gd name="T8" fmla="*/ 0 w 66"/>
                <a:gd name="T9" fmla="*/ 64 h 64"/>
                <a:gd name="T10" fmla="*/ 66 w 66"/>
                <a:gd name="T11" fmla="*/ 64 h 64"/>
              </a:gdLst>
              <a:ahLst/>
              <a:cxnLst>
                <a:cxn ang="0">
                  <a:pos x="T0" y="T1"/>
                </a:cxn>
                <a:cxn ang="0">
                  <a:pos x="T2" y="T3"/>
                </a:cxn>
                <a:cxn ang="0">
                  <a:pos x="T4" y="T5"/>
                </a:cxn>
                <a:cxn ang="0">
                  <a:pos x="T6" y="T7"/>
                </a:cxn>
                <a:cxn ang="0">
                  <a:pos x="T8" y="T9"/>
                </a:cxn>
                <a:cxn ang="0">
                  <a:pos x="T10" y="T11"/>
                </a:cxn>
              </a:cxnLst>
              <a:rect l="0" t="0" r="r" b="b"/>
              <a:pathLst>
                <a:path w="66" h="64">
                  <a:moveTo>
                    <a:pt x="66" y="64"/>
                  </a:moveTo>
                  <a:cubicBezTo>
                    <a:pt x="66" y="21"/>
                    <a:pt x="66" y="21"/>
                    <a:pt x="66" y="21"/>
                  </a:cubicBezTo>
                  <a:cubicBezTo>
                    <a:pt x="66" y="21"/>
                    <a:pt x="66" y="0"/>
                    <a:pt x="44" y="0"/>
                  </a:cubicBezTo>
                  <a:cubicBezTo>
                    <a:pt x="0" y="0"/>
                    <a:pt x="0" y="0"/>
                    <a:pt x="0" y="0"/>
                  </a:cubicBezTo>
                  <a:cubicBezTo>
                    <a:pt x="0" y="64"/>
                    <a:pt x="0" y="64"/>
                    <a:pt x="0" y="64"/>
                  </a:cubicBezTo>
                  <a:lnTo>
                    <a:pt x="66" y="64"/>
                  </a:lnTo>
                  <a:close/>
                </a:path>
              </a:pathLst>
            </a:custGeom>
            <a:solidFill>
              <a:srgbClr val="F6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Freeform 22"/>
            <p:cNvSpPr>
              <a:spLocks/>
            </p:cNvSpPr>
            <p:nvPr userDrawn="1"/>
          </p:nvSpPr>
          <p:spPr bwMode="auto">
            <a:xfrm>
              <a:off x="2755" y="408"/>
              <a:ext cx="4513" cy="2384"/>
            </a:xfrm>
            <a:custGeom>
              <a:avLst/>
              <a:gdLst>
                <a:gd name="T0" fmla="*/ 2207 w 2259"/>
                <a:gd name="T1" fmla="*/ 1192 h 1192"/>
                <a:gd name="T2" fmla="*/ 74 w 2259"/>
                <a:gd name="T3" fmla="*/ 1192 h 1192"/>
                <a:gd name="T4" fmla="*/ 74 w 2259"/>
                <a:gd name="T5" fmla="*/ 1184 h 1192"/>
                <a:gd name="T6" fmla="*/ 2207 w 2259"/>
                <a:gd name="T7" fmla="*/ 1184 h 1192"/>
                <a:gd name="T8" fmla="*/ 2251 w 2259"/>
                <a:gd name="T9" fmla="*/ 1140 h 1192"/>
                <a:gd name="T10" fmla="*/ 2251 w 2259"/>
                <a:gd name="T11" fmla="*/ 52 h 1192"/>
                <a:gd name="T12" fmla="*/ 2207 w 2259"/>
                <a:gd name="T13" fmla="*/ 8 h 1192"/>
                <a:gd name="T14" fmla="*/ 52 w 2259"/>
                <a:gd name="T15" fmla="*/ 8 h 1192"/>
                <a:gd name="T16" fmla="*/ 8 w 2259"/>
                <a:gd name="T17" fmla="*/ 52 h 1192"/>
                <a:gd name="T18" fmla="*/ 8 w 2259"/>
                <a:gd name="T19" fmla="*/ 1055 h 1192"/>
                <a:gd name="T20" fmla="*/ 0 w 2259"/>
                <a:gd name="T21" fmla="*/ 1055 h 1192"/>
                <a:gd name="T22" fmla="*/ 0 w 2259"/>
                <a:gd name="T23" fmla="*/ 52 h 1192"/>
                <a:gd name="T24" fmla="*/ 52 w 2259"/>
                <a:gd name="T25" fmla="*/ 0 h 1192"/>
                <a:gd name="T26" fmla="*/ 2207 w 2259"/>
                <a:gd name="T27" fmla="*/ 0 h 1192"/>
                <a:gd name="T28" fmla="*/ 2259 w 2259"/>
                <a:gd name="T29" fmla="*/ 52 h 1192"/>
                <a:gd name="T30" fmla="*/ 2259 w 2259"/>
                <a:gd name="T31" fmla="*/ 1140 h 1192"/>
                <a:gd name="T32" fmla="*/ 2207 w 2259"/>
                <a:gd name="T33" fmla="*/ 1192 h 1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59" h="1192">
                  <a:moveTo>
                    <a:pt x="2207" y="1192"/>
                  </a:moveTo>
                  <a:cubicBezTo>
                    <a:pt x="74" y="1192"/>
                    <a:pt x="74" y="1192"/>
                    <a:pt x="74" y="1192"/>
                  </a:cubicBezTo>
                  <a:cubicBezTo>
                    <a:pt x="74" y="1184"/>
                    <a:pt x="74" y="1184"/>
                    <a:pt x="74" y="1184"/>
                  </a:cubicBezTo>
                  <a:cubicBezTo>
                    <a:pt x="2207" y="1184"/>
                    <a:pt x="2207" y="1184"/>
                    <a:pt x="2207" y="1184"/>
                  </a:cubicBezTo>
                  <a:cubicBezTo>
                    <a:pt x="2222" y="1184"/>
                    <a:pt x="2251" y="1175"/>
                    <a:pt x="2251" y="1140"/>
                  </a:cubicBezTo>
                  <a:cubicBezTo>
                    <a:pt x="2251" y="52"/>
                    <a:pt x="2251" y="52"/>
                    <a:pt x="2251" y="52"/>
                  </a:cubicBezTo>
                  <a:cubicBezTo>
                    <a:pt x="2251" y="37"/>
                    <a:pt x="2242" y="8"/>
                    <a:pt x="2207" y="8"/>
                  </a:cubicBezTo>
                  <a:cubicBezTo>
                    <a:pt x="52" y="8"/>
                    <a:pt x="52" y="8"/>
                    <a:pt x="52" y="8"/>
                  </a:cubicBezTo>
                  <a:cubicBezTo>
                    <a:pt x="37" y="8"/>
                    <a:pt x="8" y="17"/>
                    <a:pt x="8" y="52"/>
                  </a:cubicBezTo>
                  <a:cubicBezTo>
                    <a:pt x="8" y="1055"/>
                    <a:pt x="8" y="1055"/>
                    <a:pt x="8" y="1055"/>
                  </a:cubicBezTo>
                  <a:cubicBezTo>
                    <a:pt x="0" y="1055"/>
                    <a:pt x="0" y="1055"/>
                    <a:pt x="0" y="1055"/>
                  </a:cubicBezTo>
                  <a:cubicBezTo>
                    <a:pt x="0" y="52"/>
                    <a:pt x="0" y="52"/>
                    <a:pt x="0" y="52"/>
                  </a:cubicBezTo>
                  <a:cubicBezTo>
                    <a:pt x="0" y="11"/>
                    <a:pt x="34" y="0"/>
                    <a:pt x="52" y="0"/>
                  </a:cubicBezTo>
                  <a:cubicBezTo>
                    <a:pt x="2207" y="0"/>
                    <a:pt x="2207" y="0"/>
                    <a:pt x="2207" y="0"/>
                  </a:cubicBezTo>
                  <a:cubicBezTo>
                    <a:pt x="2248" y="0"/>
                    <a:pt x="2259" y="34"/>
                    <a:pt x="2259" y="52"/>
                  </a:cubicBezTo>
                  <a:cubicBezTo>
                    <a:pt x="2259" y="1140"/>
                    <a:pt x="2259" y="1140"/>
                    <a:pt x="2259" y="1140"/>
                  </a:cubicBezTo>
                  <a:cubicBezTo>
                    <a:pt x="2259" y="1181"/>
                    <a:pt x="2225" y="1192"/>
                    <a:pt x="2207" y="1192"/>
                  </a:cubicBezTo>
                  <a:close/>
                </a:path>
              </a:pathLst>
            </a:custGeom>
            <a:solidFill>
              <a:srgbClr val="ED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
        <p:nvSpPr>
          <p:cNvPr id="12" name="Title 11"/>
          <p:cNvSpPr>
            <a:spLocks noGrp="1"/>
          </p:cNvSpPr>
          <p:nvPr>
            <p:ph type="ctrTitle" hasCustomPrompt="1"/>
          </p:nvPr>
        </p:nvSpPr>
        <p:spPr bwMode="gray">
          <a:xfrm flipH="1">
            <a:off x="957485" y="2412206"/>
            <a:ext cx="6480000" cy="2556424"/>
          </a:xfrm>
          <a:prstGeom prst="rect">
            <a:avLst/>
          </a:prstGeom>
          <a:noFill/>
        </p:spPr>
        <p:txBody>
          <a:bodyPr wrap="square" lIns="0" tIns="180000" rIns="0" anchor="t" anchorCtr="0">
            <a:noAutofit/>
          </a:bodyPr>
          <a:lstStyle>
            <a:lvl1pPr algn="l">
              <a:lnSpc>
                <a:spcPct val="90000"/>
              </a:lnSpc>
              <a:defRPr sz="5200"/>
            </a:lvl1pPr>
          </a:lstStyle>
          <a:p>
            <a:r>
              <a:rPr lang="nl-NL"/>
              <a:t>Klik om een titel te maken</a:t>
            </a:r>
          </a:p>
        </p:txBody>
      </p:sp>
      <p:pic>
        <p:nvPicPr>
          <p:cNvPr id="8" name="Picture 7"/>
          <p:cNvPicPr>
            <a:picLocks noChangeAspect="1"/>
          </p:cNvPicPr>
          <p:nvPr userDrawn="1"/>
        </p:nvPicPr>
        <p:blipFill>
          <a:blip r:embed="rId2"/>
          <a:stretch>
            <a:fillRect/>
          </a:stretch>
        </p:blipFill>
        <p:spPr bwMode="gray">
          <a:xfrm>
            <a:off x="10619182" y="5404647"/>
            <a:ext cx="1270800" cy="1270800"/>
          </a:xfrm>
          <a:prstGeom prst="rect">
            <a:avLst/>
          </a:prstGeom>
        </p:spPr>
      </p:pic>
      <p:sp>
        <p:nvSpPr>
          <p:cNvPr id="3" name="Subtitle 2"/>
          <p:cNvSpPr>
            <a:spLocks noGrp="1"/>
          </p:cNvSpPr>
          <p:nvPr userDrawn="1">
            <p:ph type="subTitle" idx="1" hasCustomPrompt="1"/>
          </p:nvPr>
        </p:nvSpPr>
        <p:spPr bwMode="gray">
          <a:xfrm>
            <a:off x="957485" y="5172024"/>
            <a:ext cx="6480000" cy="371897"/>
          </a:xfrm>
        </p:spPr>
        <p:txBody>
          <a:bodyPr>
            <a:noAutofit/>
          </a:bodyPr>
          <a:lstStyle>
            <a:lvl1pPr marL="0" indent="0" algn="l">
              <a:buNone/>
              <a:defRPr sz="2000" b="1">
                <a:solidFill>
                  <a:srgbClr val="ED8C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een ondertitel te maken</a:t>
            </a:r>
          </a:p>
        </p:txBody>
      </p:sp>
      <p:sp>
        <p:nvSpPr>
          <p:cNvPr id="17" name="Date Placeholder 1"/>
          <p:cNvSpPr>
            <a:spLocks noGrp="1"/>
          </p:cNvSpPr>
          <p:nvPr>
            <p:ph type="dt" sz="half" idx="11"/>
          </p:nvPr>
        </p:nvSpPr>
        <p:spPr>
          <a:xfrm>
            <a:off x="957485" y="5537338"/>
            <a:ext cx="6480000" cy="371897"/>
          </a:xfrm>
          <a:prstGeom prst="rect">
            <a:avLst/>
          </a:prstGeom>
        </p:spPr>
        <p:txBody>
          <a:bodyPr lIns="0" tIns="0" rIns="0" bIns="0">
            <a:noAutofit/>
          </a:bodyPr>
          <a:lstStyle>
            <a:lvl1pPr>
              <a:lnSpc>
                <a:spcPct val="104000"/>
              </a:lnSpc>
              <a:defRPr sz="2000">
                <a:solidFill>
                  <a:srgbClr val="ED8C00"/>
                </a:solidFill>
              </a:defRPr>
            </a:lvl1pPr>
          </a:lstStyle>
          <a:p>
            <a:r>
              <a:rPr lang="nl-NL"/>
              <a:t>Den Haag • 00 maand jaar</a:t>
            </a:r>
          </a:p>
        </p:txBody>
      </p:sp>
      <p:sp>
        <p:nvSpPr>
          <p:cNvPr id="21" name="Footer Placeholder 8"/>
          <p:cNvSpPr>
            <a:spLocks noGrp="1"/>
          </p:cNvSpPr>
          <p:nvPr>
            <p:ph type="ftr" sz="quarter" idx="12"/>
          </p:nvPr>
        </p:nvSpPr>
        <p:spPr>
          <a:xfrm rot="16200000">
            <a:off x="-3345634" y="3186000"/>
            <a:ext cx="6480000" cy="108000"/>
          </a:xfrm>
        </p:spPr>
        <p:txBody>
          <a:bodyPr>
            <a:spAutoFit/>
          </a:bodyPr>
          <a:lstStyle>
            <a:lvl1pPr>
              <a:defRPr sz="500">
                <a:solidFill>
                  <a:schemeClr val="bg1"/>
                </a:solidFill>
              </a:defRPr>
            </a:lvl1pPr>
          </a:lstStyle>
          <a:p>
            <a:r>
              <a:rPr lang="nl-NL"/>
              <a:t>PostNL voettekst</a:t>
            </a:r>
          </a:p>
        </p:txBody>
      </p:sp>
      <p:sp>
        <p:nvSpPr>
          <p:cNvPr id="22" name="Slide Number Placeholder 9"/>
          <p:cNvSpPr>
            <a:spLocks noGrp="1"/>
          </p:cNvSpPr>
          <p:nvPr>
            <p:ph type="sldNum" sz="quarter" idx="13"/>
          </p:nvPr>
        </p:nvSpPr>
        <p:spPr>
          <a:xfrm rot="16200000">
            <a:off x="-231635" y="6678000"/>
            <a:ext cx="252000" cy="108000"/>
          </a:xfrm>
        </p:spPr>
        <p:txBody>
          <a:bodyPr>
            <a:spAutoFit/>
          </a:bodyPr>
          <a:lstStyle>
            <a:lvl1pPr>
              <a:defRPr sz="500">
                <a:solidFill>
                  <a:schemeClr val="bg1"/>
                </a:solidFill>
              </a:defRPr>
            </a:lvl1pPr>
          </a:lstStyle>
          <a:p>
            <a:fld id="{A1BC669C-0B8C-4F49-8D0F-E81255670A63}" type="slidenum">
              <a:rPr lang="nl-NL" smtClean="0"/>
              <a:pPr/>
              <a:t>‹nr.›</a:t>
            </a:fld>
            <a:endParaRPr lang="nl-NL"/>
          </a:p>
        </p:txBody>
      </p:sp>
    </p:spTree>
    <p:extLst>
      <p:ext uri="{BB962C8B-B14F-4D97-AF65-F5344CB8AC3E}">
        <p14:creationId xmlns:p14="http://schemas.microsoft.com/office/powerpoint/2010/main" val="14286296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Kolom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604047-DF0B-D4E4-B9BC-C2DC30923A1C}"/>
              </a:ext>
            </a:extLst>
          </p:cNvPr>
          <p:cNvGraphicFramePr>
            <a:graphicFrameLocks noChangeAspect="1"/>
          </p:cNvGraphicFramePr>
          <p:nvPr userDrawn="1">
            <p:custDataLst>
              <p:tags r:id="rId1"/>
            </p:custDataLst>
            <p:extLst>
              <p:ext uri="{D42A27DB-BD31-4B8C-83A1-F6EECF244321}">
                <p14:modId xmlns:p14="http://schemas.microsoft.com/office/powerpoint/2010/main" val="4281289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91604047-DF0B-D4E4-B9BC-C2DC30923A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1020000" y="1663700"/>
            <a:ext cx="10152000" cy="4212000"/>
          </a:xfrm>
        </p:spPr>
        <p:txBody>
          <a:bodyPr/>
          <a:lstStyle>
            <a:lvl1pPr rtl="0">
              <a:defRPr/>
            </a:lvl1pPr>
            <a:lvl2pPr rtl="0">
              <a:defRPr/>
            </a:lvl2pPr>
            <a:lvl3pPr rtl="0">
              <a:defRPr/>
            </a:lvl3pPr>
            <a:lvl4pPr rtl="0">
              <a:defRPr/>
            </a:lvl4pPr>
            <a:lvl5pPr rtl="0">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15" name="Line 6"/>
          <p:cNvSpPr>
            <a:spLocks noChangeShapeType="1"/>
          </p:cNvSpPr>
          <p:nvPr userDrawn="1"/>
        </p:nvSpPr>
        <p:spPr bwMode="auto">
          <a:xfrm>
            <a:off x="1020000" y="1358900"/>
            <a:ext cx="10152000" cy="0"/>
          </a:xfrm>
          <a:prstGeom prst="line">
            <a:avLst/>
          </a:prstGeom>
          <a:noFill/>
          <a:ln w="6350" cap="flat">
            <a:solidFill>
              <a:srgbClr val="ADB5C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rtl="0"/>
            <a:endParaRPr lang="nl-NL"/>
          </a:p>
        </p:txBody>
      </p:sp>
      <p:sp>
        <p:nvSpPr>
          <p:cNvPr id="16" name="Date Placeholder 15"/>
          <p:cNvSpPr>
            <a:spLocks noGrp="1"/>
          </p:cNvSpPr>
          <p:nvPr>
            <p:ph type="dt" sz="half" idx="14"/>
          </p:nvPr>
        </p:nvSpPr>
        <p:spPr/>
        <p:txBody>
          <a:bodyPr/>
          <a:lstStyle>
            <a:lvl1pPr rtl="0">
              <a:defRPr/>
            </a:lvl1pPr>
          </a:lstStyle>
          <a:p>
            <a:r>
              <a:rPr lang="nl-NL"/>
              <a:t>Den Haag • 00 maand jaar</a:t>
            </a:r>
          </a:p>
        </p:txBody>
      </p:sp>
      <p:sp>
        <p:nvSpPr>
          <p:cNvPr id="17" name="Footer Placeholder 16"/>
          <p:cNvSpPr>
            <a:spLocks noGrp="1"/>
          </p:cNvSpPr>
          <p:nvPr>
            <p:ph type="ftr" sz="quarter" idx="15"/>
          </p:nvPr>
        </p:nvSpPr>
        <p:spPr/>
        <p:txBody>
          <a:bodyPr/>
          <a:lstStyle>
            <a:lvl1pPr rtl="0">
              <a:defRPr/>
            </a:lvl1pPr>
          </a:lstStyle>
          <a:p>
            <a:r>
              <a:rPr lang="nl-NL"/>
              <a:t>PostNL voettekst</a:t>
            </a:r>
          </a:p>
        </p:txBody>
      </p:sp>
      <p:sp>
        <p:nvSpPr>
          <p:cNvPr id="18" name="Slide Number Placeholder 17"/>
          <p:cNvSpPr>
            <a:spLocks noGrp="1"/>
          </p:cNvSpPr>
          <p:nvPr>
            <p:ph type="sldNum" sz="quarter" idx="16"/>
          </p:nvPr>
        </p:nvSpPr>
        <p:spPr/>
        <p:txBody>
          <a:bodyPr/>
          <a:lstStyle>
            <a:lvl1pPr rtl="0">
              <a:defRPr/>
            </a:lvl1pPr>
          </a:lstStyle>
          <a:p>
            <a:fld id="{A1BC669C-0B8C-4F49-8D0F-E81255670A63}" type="slidenum">
              <a:rPr lang="nl-NL" smtClean="0"/>
              <a:pPr/>
              <a:t>‹nr.›</a:t>
            </a:fld>
            <a:endParaRPr lang="nl-NL"/>
          </a:p>
        </p:txBody>
      </p:sp>
      <p:sp>
        <p:nvSpPr>
          <p:cNvPr id="21" name="Title 20"/>
          <p:cNvSpPr>
            <a:spLocks noGrp="1"/>
          </p:cNvSpPr>
          <p:nvPr>
            <p:ph type="title" hasCustomPrompt="1"/>
          </p:nvPr>
        </p:nvSpPr>
        <p:spPr/>
        <p:txBody>
          <a:bodyPr vert="horz"/>
          <a:lstStyle>
            <a:lvl1pPr rtl="0">
              <a:defRPr/>
            </a:lvl1pPr>
          </a:lstStyle>
          <a:p>
            <a:r>
              <a:rPr lang="nl-NL"/>
              <a:t>Klik om een titel te maken </a:t>
            </a:r>
          </a:p>
        </p:txBody>
      </p:sp>
      <p:sp>
        <p:nvSpPr>
          <p:cNvPr id="20" name="Text Placeholder 12"/>
          <p:cNvSpPr>
            <a:spLocks noGrp="1"/>
          </p:cNvSpPr>
          <p:nvPr>
            <p:ph type="body" sz="quarter" idx="13" hasCustomPrompt="1"/>
          </p:nvPr>
        </p:nvSpPr>
        <p:spPr>
          <a:xfrm>
            <a:off x="1020000" y="847724"/>
            <a:ext cx="10152000" cy="442855"/>
          </a:xfrm>
        </p:spPr>
        <p:txBody>
          <a:bodyPr>
            <a:noAutofit/>
          </a:bodyPr>
          <a:lstStyle>
            <a:lvl1pPr rtl="0">
              <a:spcBef>
                <a:spcPts val="0"/>
              </a:spcBef>
              <a:defRPr b="1">
                <a:solidFill>
                  <a:srgbClr val="ED8C00"/>
                </a:solidFill>
              </a:defRPr>
            </a:lvl1pPr>
          </a:lstStyle>
          <a:p>
            <a:pPr lvl="0"/>
            <a:r>
              <a:rPr lang="nl-NL" noProof="0"/>
              <a:t>Klik om een </a:t>
            </a:r>
            <a:r>
              <a:rPr lang="nl-NL" noProof="0" err="1"/>
              <a:t>subtitle</a:t>
            </a:r>
            <a:r>
              <a:rPr lang="nl-NL" noProof="0"/>
              <a:t> te maken</a:t>
            </a:r>
          </a:p>
        </p:txBody>
      </p:sp>
    </p:spTree>
    <p:extLst>
      <p:ext uri="{BB962C8B-B14F-4D97-AF65-F5344CB8AC3E}">
        <p14:creationId xmlns:p14="http://schemas.microsoft.com/office/powerpoint/2010/main" val="1336038616"/>
      </p:ext>
    </p:extLst>
  </p:cSld>
  <p:clrMapOvr>
    <a:masterClrMapping/>
  </p:clrMapOvr>
  <p:extLst>
    <p:ext uri="{DCECCB84-F9BA-43D5-87BE-67443E8EF086}">
      <p15:sldGuideLst xmlns:p15="http://schemas.microsoft.com/office/powerpoint/2012/main">
        <p15:guide id="1" pos="642">
          <p15:clr>
            <a:srgbClr val="FBAE40"/>
          </p15:clr>
        </p15:guide>
        <p15:guide id="2" pos="7038">
          <p15:clr>
            <a:srgbClr val="FBAE40"/>
          </p15:clr>
        </p15:guide>
        <p15:guide id="3" orient="horz" pos="1049">
          <p15:clr>
            <a:srgbClr val="FBAE40"/>
          </p15:clr>
        </p15:guide>
        <p15:guide id="4" orient="horz" pos="3702">
          <p15:clr>
            <a:srgbClr val="FBAE40"/>
          </p15:clr>
        </p15:guide>
        <p15:guide id="5" orient="horz" pos="164">
          <p15:clr>
            <a:srgbClr val="FBAE40"/>
          </p15:clr>
        </p15:guide>
        <p15:guide id="6" orient="horz" pos="82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met beeld">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537649" y="260350"/>
            <a:ext cx="7632000" cy="1030230"/>
          </a:xfrm>
        </p:spPr>
        <p:txBody>
          <a:bodyPr/>
          <a:lstStyle>
            <a:lvl1pPr>
              <a:defRPr/>
            </a:lvl1pPr>
          </a:lstStyle>
          <a:p>
            <a:r>
              <a:rPr lang="nl-NL"/>
              <a:t>Klik om een titel te maken </a:t>
            </a:r>
          </a:p>
        </p:txBody>
      </p:sp>
      <p:sp>
        <p:nvSpPr>
          <p:cNvPr id="16" name="Picture Placeholder 15"/>
          <p:cNvSpPr>
            <a:spLocks noGrp="1"/>
          </p:cNvSpPr>
          <p:nvPr>
            <p:ph type="pic" sz="quarter" idx="13"/>
          </p:nvPr>
        </p:nvSpPr>
        <p:spPr bwMode="gray">
          <a:xfrm>
            <a:off x="0" y="0"/>
            <a:ext cx="3051000" cy="6343650"/>
          </a:xfrm>
          <a:custGeom>
            <a:avLst/>
            <a:gdLst>
              <a:gd name="connsiteX0" fmla="*/ 0 w 4065588"/>
              <a:gd name="connsiteY0" fmla="*/ 0 h 6343650"/>
              <a:gd name="connsiteX1" fmla="*/ 4065588 w 4065588"/>
              <a:gd name="connsiteY1" fmla="*/ 0 h 6343650"/>
              <a:gd name="connsiteX2" fmla="*/ 4065588 w 4065588"/>
              <a:gd name="connsiteY2" fmla="*/ 6343650 h 6343650"/>
              <a:gd name="connsiteX3" fmla="*/ 0 w 4065588"/>
              <a:gd name="connsiteY3" fmla="*/ 6343650 h 6343650"/>
            </a:gdLst>
            <a:ahLst/>
            <a:cxnLst>
              <a:cxn ang="0">
                <a:pos x="connsiteX0" y="connsiteY0"/>
              </a:cxn>
              <a:cxn ang="0">
                <a:pos x="connsiteX1" y="connsiteY1"/>
              </a:cxn>
              <a:cxn ang="0">
                <a:pos x="connsiteX2" y="connsiteY2"/>
              </a:cxn>
              <a:cxn ang="0">
                <a:pos x="connsiteX3" y="connsiteY3"/>
              </a:cxn>
            </a:cxnLst>
            <a:rect l="l" t="t" r="r" b="b"/>
            <a:pathLst>
              <a:path w="4065588" h="6343650">
                <a:moveTo>
                  <a:pt x="0" y="0"/>
                </a:moveTo>
                <a:lnTo>
                  <a:pt x="4065588" y="0"/>
                </a:lnTo>
                <a:lnTo>
                  <a:pt x="4065588" y="6343650"/>
                </a:lnTo>
                <a:lnTo>
                  <a:pt x="0" y="6343650"/>
                </a:lnTo>
                <a:close/>
              </a:path>
            </a:pathLst>
          </a:custGeom>
          <a:noFill/>
        </p:spPr>
        <p:txBody>
          <a:bodyPr wrap="square" lIns="360000" tIns="360000" rIns="360000" bIns="360000">
            <a:noAutofit/>
          </a:bodyPr>
          <a:lstStyle/>
          <a:p>
            <a:r>
              <a:rPr lang="nl-NL"/>
              <a:t>Klik op het pictogram als u een afbeelding wilt toevoegen</a:t>
            </a:r>
          </a:p>
        </p:txBody>
      </p:sp>
      <p:sp>
        <p:nvSpPr>
          <p:cNvPr id="7" name="Footer Placeholder 6"/>
          <p:cNvSpPr>
            <a:spLocks noGrp="1"/>
          </p:cNvSpPr>
          <p:nvPr>
            <p:ph type="ftr" sz="quarter" idx="14"/>
          </p:nvPr>
        </p:nvSpPr>
        <p:spPr/>
        <p:txBody>
          <a:bodyPr/>
          <a:lstStyle/>
          <a:p>
            <a:r>
              <a:rPr lang="nl-NL"/>
              <a:t>PostNL voettekst</a:t>
            </a:r>
          </a:p>
        </p:txBody>
      </p:sp>
      <p:sp>
        <p:nvSpPr>
          <p:cNvPr id="8" name="Slide Number Placeholder 7"/>
          <p:cNvSpPr>
            <a:spLocks noGrp="1"/>
          </p:cNvSpPr>
          <p:nvPr>
            <p:ph type="sldNum" sz="quarter" idx="15"/>
          </p:nvPr>
        </p:nvSpPr>
        <p:spPr/>
        <p:txBody>
          <a:bodyPr/>
          <a:lstStyle/>
          <a:p>
            <a:fld id="{A1BC669C-0B8C-4F49-8D0F-E81255670A63}" type="slidenum">
              <a:rPr lang="nl-NL" smtClean="0"/>
              <a:pPr/>
              <a:t>‹nr.›</a:t>
            </a:fld>
            <a:endParaRPr lang="nl-NL"/>
          </a:p>
        </p:txBody>
      </p:sp>
      <p:sp>
        <p:nvSpPr>
          <p:cNvPr id="9" name="Date Placeholder 8"/>
          <p:cNvSpPr>
            <a:spLocks noGrp="1"/>
          </p:cNvSpPr>
          <p:nvPr>
            <p:ph type="dt" sz="half" idx="16"/>
          </p:nvPr>
        </p:nvSpPr>
        <p:spPr/>
        <p:txBody>
          <a:bodyPr/>
          <a:lstStyle/>
          <a:p>
            <a:r>
              <a:rPr lang="nl-NL"/>
              <a:t>Den Haag • 00 maand jaar</a:t>
            </a:r>
          </a:p>
        </p:txBody>
      </p:sp>
      <p:sp>
        <p:nvSpPr>
          <p:cNvPr id="45" name="Text Placeholder 44"/>
          <p:cNvSpPr>
            <a:spLocks noGrp="1"/>
          </p:cNvSpPr>
          <p:nvPr>
            <p:ph type="body" sz="quarter" idx="17" hasCustomPrompt="1"/>
          </p:nvPr>
        </p:nvSpPr>
        <p:spPr bwMode="gray">
          <a:xfrm>
            <a:off x="3537648" y="1659736"/>
            <a:ext cx="7632000" cy="756000"/>
          </a:xfrm>
          <a:prstGeom prst="roundRect">
            <a:avLst>
              <a:gd name="adj" fmla="val 14147"/>
            </a:avLst>
          </a:prstGeom>
          <a:solidFill>
            <a:srgbClr val="D4D9E3"/>
          </a:solidFill>
        </p:spPr>
        <p:txBody>
          <a:bodyPr wrap="square" lIns="180000" tIns="36000" rIns="180000" bIns="36000">
            <a:noAutofit/>
          </a:bodyPr>
          <a:lstStyle>
            <a:lvl1pPr>
              <a:lnSpc>
                <a:spcPct val="95000"/>
              </a:lnSpc>
              <a:spcBef>
                <a:spcPts val="0"/>
              </a:spcBef>
              <a:defRPr sz="2000">
                <a:solidFill>
                  <a:schemeClr val="bg1"/>
                </a:solidFill>
              </a:defRPr>
            </a:lvl1pPr>
            <a:lvl2pPr marL="0" indent="0">
              <a:spcBef>
                <a:spcPts val="0"/>
              </a:spcBef>
              <a:buNone/>
              <a:defRPr sz="1400">
                <a:solidFill>
                  <a:schemeClr val="bg1"/>
                </a:solidFill>
              </a:defRPr>
            </a:lvl2pPr>
          </a:lstStyle>
          <a:p>
            <a:pPr lvl="0"/>
            <a:r>
              <a:rPr lang="nl-NL" noProof="0"/>
              <a:t>Agenda item 1</a:t>
            </a:r>
          </a:p>
          <a:p>
            <a:pPr lvl="1"/>
            <a:r>
              <a:rPr lang="nl-NL" noProof="0"/>
              <a:t>Tweede niveau</a:t>
            </a:r>
          </a:p>
        </p:txBody>
      </p:sp>
      <p:sp>
        <p:nvSpPr>
          <p:cNvPr id="46" name="Text Placeholder 45"/>
          <p:cNvSpPr>
            <a:spLocks noGrp="1"/>
          </p:cNvSpPr>
          <p:nvPr>
            <p:ph type="body" sz="quarter" idx="18" hasCustomPrompt="1"/>
          </p:nvPr>
        </p:nvSpPr>
        <p:spPr bwMode="gray">
          <a:xfrm>
            <a:off x="3537648" y="2524727"/>
            <a:ext cx="7632000" cy="756000"/>
          </a:xfrm>
          <a:prstGeom prst="roundRect">
            <a:avLst>
              <a:gd name="adj" fmla="val 14147"/>
            </a:avLst>
          </a:prstGeom>
          <a:solidFill>
            <a:srgbClr val="D4D9E3"/>
          </a:solidFill>
        </p:spPr>
        <p:txBody>
          <a:bodyPr wrap="square" lIns="180000" tIns="36000" rIns="180000" bIns="36000">
            <a:noAutofit/>
          </a:bodyPr>
          <a:lstStyle>
            <a:lvl1pPr>
              <a:lnSpc>
                <a:spcPct val="95000"/>
              </a:lnSpc>
              <a:spcBef>
                <a:spcPts val="0"/>
              </a:spcBef>
              <a:defRPr sz="2000">
                <a:solidFill>
                  <a:schemeClr val="bg1"/>
                </a:solidFill>
              </a:defRPr>
            </a:lvl1pPr>
            <a:lvl2pPr marL="0" indent="0">
              <a:spcBef>
                <a:spcPts val="0"/>
              </a:spcBef>
              <a:buNone/>
              <a:defRPr sz="1400">
                <a:solidFill>
                  <a:schemeClr val="bg1"/>
                </a:solidFill>
              </a:defRPr>
            </a:lvl2pPr>
          </a:lstStyle>
          <a:p>
            <a:pPr lvl="0"/>
            <a:r>
              <a:rPr lang="nl-NL" noProof="0"/>
              <a:t>Agenda item 2</a:t>
            </a:r>
          </a:p>
          <a:p>
            <a:pPr lvl="1"/>
            <a:r>
              <a:rPr lang="nl-NL" noProof="0"/>
              <a:t>Tweede niveau</a:t>
            </a:r>
          </a:p>
        </p:txBody>
      </p:sp>
      <p:sp>
        <p:nvSpPr>
          <p:cNvPr id="47" name="Text Placeholder 46"/>
          <p:cNvSpPr>
            <a:spLocks noGrp="1"/>
          </p:cNvSpPr>
          <p:nvPr>
            <p:ph type="body" sz="quarter" idx="19" hasCustomPrompt="1"/>
          </p:nvPr>
        </p:nvSpPr>
        <p:spPr bwMode="gray">
          <a:xfrm>
            <a:off x="3537648" y="3389718"/>
            <a:ext cx="7632000" cy="756000"/>
          </a:xfrm>
          <a:prstGeom prst="roundRect">
            <a:avLst>
              <a:gd name="adj" fmla="val 14147"/>
            </a:avLst>
          </a:prstGeom>
          <a:solidFill>
            <a:srgbClr val="D4D9E3"/>
          </a:solidFill>
        </p:spPr>
        <p:txBody>
          <a:bodyPr wrap="square" lIns="180000" tIns="36000" rIns="180000" bIns="36000">
            <a:noAutofit/>
          </a:bodyPr>
          <a:lstStyle>
            <a:lvl1pPr>
              <a:lnSpc>
                <a:spcPct val="95000"/>
              </a:lnSpc>
              <a:spcBef>
                <a:spcPts val="0"/>
              </a:spcBef>
              <a:defRPr sz="2000">
                <a:solidFill>
                  <a:schemeClr val="bg1"/>
                </a:solidFill>
              </a:defRPr>
            </a:lvl1pPr>
            <a:lvl2pPr marL="0" indent="0">
              <a:spcBef>
                <a:spcPts val="0"/>
              </a:spcBef>
              <a:buNone/>
              <a:defRPr sz="1400">
                <a:solidFill>
                  <a:schemeClr val="bg1"/>
                </a:solidFill>
              </a:defRPr>
            </a:lvl2pPr>
          </a:lstStyle>
          <a:p>
            <a:pPr lvl="0"/>
            <a:r>
              <a:rPr lang="nl-NL" noProof="0"/>
              <a:t>Agenda item 3</a:t>
            </a:r>
          </a:p>
          <a:p>
            <a:pPr lvl="1"/>
            <a:r>
              <a:rPr lang="nl-NL" noProof="0"/>
              <a:t>Tweede niveau</a:t>
            </a:r>
          </a:p>
        </p:txBody>
      </p:sp>
      <p:sp>
        <p:nvSpPr>
          <p:cNvPr id="48" name="Text Placeholder 47"/>
          <p:cNvSpPr>
            <a:spLocks noGrp="1"/>
          </p:cNvSpPr>
          <p:nvPr>
            <p:ph type="body" sz="quarter" idx="20" hasCustomPrompt="1"/>
          </p:nvPr>
        </p:nvSpPr>
        <p:spPr bwMode="gray">
          <a:xfrm>
            <a:off x="3537648" y="4254709"/>
            <a:ext cx="7632000" cy="756000"/>
          </a:xfrm>
          <a:prstGeom prst="roundRect">
            <a:avLst>
              <a:gd name="adj" fmla="val 14147"/>
            </a:avLst>
          </a:prstGeom>
          <a:solidFill>
            <a:srgbClr val="D4D9E3"/>
          </a:solidFill>
        </p:spPr>
        <p:txBody>
          <a:bodyPr wrap="square" lIns="180000" tIns="36000" rIns="180000" bIns="36000">
            <a:noAutofit/>
          </a:bodyPr>
          <a:lstStyle>
            <a:lvl1pPr>
              <a:lnSpc>
                <a:spcPct val="95000"/>
              </a:lnSpc>
              <a:spcBef>
                <a:spcPts val="0"/>
              </a:spcBef>
              <a:defRPr sz="2000">
                <a:solidFill>
                  <a:schemeClr val="bg1"/>
                </a:solidFill>
              </a:defRPr>
            </a:lvl1pPr>
            <a:lvl2pPr marL="0" indent="0">
              <a:spcBef>
                <a:spcPts val="0"/>
              </a:spcBef>
              <a:buNone/>
              <a:defRPr sz="1400">
                <a:solidFill>
                  <a:schemeClr val="bg1"/>
                </a:solidFill>
              </a:defRPr>
            </a:lvl2pPr>
          </a:lstStyle>
          <a:p>
            <a:pPr lvl="0"/>
            <a:r>
              <a:rPr lang="nl-NL" noProof="0"/>
              <a:t>Agenda item 4</a:t>
            </a:r>
          </a:p>
          <a:p>
            <a:pPr lvl="1"/>
            <a:r>
              <a:rPr lang="nl-NL" noProof="0"/>
              <a:t>Tweede niveau</a:t>
            </a:r>
          </a:p>
        </p:txBody>
      </p:sp>
      <p:sp>
        <p:nvSpPr>
          <p:cNvPr id="49" name="Text Placeholder 48"/>
          <p:cNvSpPr>
            <a:spLocks noGrp="1"/>
          </p:cNvSpPr>
          <p:nvPr>
            <p:ph type="body" sz="quarter" idx="21" hasCustomPrompt="1"/>
          </p:nvPr>
        </p:nvSpPr>
        <p:spPr bwMode="gray">
          <a:xfrm>
            <a:off x="3537648" y="5119700"/>
            <a:ext cx="7632000" cy="756000"/>
          </a:xfrm>
          <a:prstGeom prst="roundRect">
            <a:avLst>
              <a:gd name="adj" fmla="val 14147"/>
            </a:avLst>
          </a:prstGeom>
          <a:solidFill>
            <a:srgbClr val="D4D9E3"/>
          </a:solidFill>
        </p:spPr>
        <p:txBody>
          <a:bodyPr wrap="square" lIns="180000" tIns="36000" rIns="180000" bIns="36000">
            <a:noAutofit/>
          </a:bodyPr>
          <a:lstStyle>
            <a:lvl1pPr>
              <a:lnSpc>
                <a:spcPct val="95000"/>
              </a:lnSpc>
              <a:spcBef>
                <a:spcPts val="0"/>
              </a:spcBef>
              <a:defRPr sz="2000">
                <a:solidFill>
                  <a:schemeClr val="bg1"/>
                </a:solidFill>
              </a:defRPr>
            </a:lvl1pPr>
            <a:lvl2pPr marL="0" indent="0">
              <a:spcBef>
                <a:spcPts val="0"/>
              </a:spcBef>
              <a:buNone/>
              <a:defRPr sz="1400">
                <a:solidFill>
                  <a:schemeClr val="bg1"/>
                </a:solidFill>
              </a:defRPr>
            </a:lvl2pPr>
          </a:lstStyle>
          <a:p>
            <a:pPr lvl="0"/>
            <a:r>
              <a:rPr lang="nl-NL" noProof="0"/>
              <a:t>Agenda item 5</a:t>
            </a:r>
          </a:p>
          <a:p>
            <a:pPr lvl="1"/>
            <a:r>
              <a:rPr lang="nl-NL" noProof="0"/>
              <a:t>Tweede niveau</a:t>
            </a:r>
          </a:p>
        </p:txBody>
      </p:sp>
      <p:sp>
        <p:nvSpPr>
          <p:cNvPr id="17" name="Line 6"/>
          <p:cNvSpPr>
            <a:spLocks noChangeShapeType="1"/>
          </p:cNvSpPr>
          <p:nvPr userDrawn="1"/>
        </p:nvSpPr>
        <p:spPr bwMode="auto">
          <a:xfrm>
            <a:off x="3537648" y="1358900"/>
            <a:ext cx="7632000" cy="0"/>
          </a:xfrm>
          <a:prstGeom prst="line">
            <a:avLst/>
          </a:prstGeom>
          <a:noFill/>
          <a:ln w="6350" cap="flat">
            <a:solidFill>
              <a:srgbClr val="ADB5C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Text Placeholder 12"/>
          <p:cNvSpPr>
            <a:spLocks noGrp="1"/>
          </p:cNvSpPr>
          <p:nvPr>
            <p:ph type="body" sz="quarter" idx="22" hasCustomPrompt="1"/>
          </p:nvPr>
        </p:nvSpPr>
        <p:spPr>
          <a:xfrm>
            <a:off x="3537649" y="847724"/>
            <a:ext cx="7632000" cy="442855"/>
          </a:xfrm>
        </p:spPr>
        <p:txBody>
          <a:bodyPr>
            <a:noAutofit/>
          </a:bodyPr>
          <a:lstStyle>
            <a:lvl1pPr>
              <a:spcBef>
                <a:spcPts val="0"/>
              </a:spcBef>
              <a:defRPr b="1">
                <a:solidFill>
                  <a:srgbClr val="ED8C00"/>
                </a:solidFill>
              </a:defRPr>
            </a:lvl1pPr>
          </a:lstStyle>
          <a:p>
            <a:pPr lvl="0"/>
            <a:r>
              <a:rPr lang="nl-NL" noProof="0"/>
              <a:t>Klik om een subtitle te maken</a:t>
            </a:r>
          </a:p>
        </p:txBody>
      </p:sp>
    </p:spTree>
    <p:extLst>
      <p:ext uri="{BB962C8B-B14F-4D97-AF65-F5344CB8AC3E}">
        <p14:creationId xmlns:p14="http://schemas.microsoft.com/office/powerpoint/2010/main" val="1352891538"/>
      </p:ext>
    </p:extLst>
  </p:cSld>
  <p:clrMapOvr>
    <a:masterClrMapping/>
  </p:clrMapOvr>
  <p:extLst>
    <p:ext uri="{DCECCB84-F9BA-43D5-87BE-67443E8EF086}">
      <p15:sldGuideLst xmlns:p15="http://schemas.microsoft.com/office/powerpoint/2012/main">
        <p15:guide id="1" pos="1923">
          <p15:clr>
            <a:srgbClr val="FBAE40"/>
          </p15:clr>
        </p15:guide>
        <p15:guide id="2" pos="2228">
          <p15:clr>
            <a:srgbClr val="FBAE40"/>
          </p15:clr>
        </p15:guide>
        <p15:guide id="3" pos="7038">
          <p15:clr>
            <a:srgbClr val="FBAE40"/>
          </p15:clr>
        </p15:guide>
        <p15:guide id="4" orient="horz" pos="3702">
          <p15:clr>
            <a:srgbClr val="FBAE40"/>
          </p15:clr>
        </p15:guide>
        <p15:guide id="5" orient="horz" pos="1049">
          <p15:clr>
            <a:srgbClr val="FBAE40"/>
          </p15:clr>
        </p15:guide>
        <p15:guide id="6" orient="horz" pos="164">
          <p15:clr>
            <a:srgbClr val="FBAE40"/>
          </p15:clr>
        </p15:guide>
        <p15:guide id="7" orient="horz" pos="82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zonder beeld">
    <p:spTree>
      <p:nvGrpSpPr>
        <p:cNvPr id="1" name=""/>
        <p:cNvGrpSpPr/>
        <p:nvPr/>
      </p:nvGrpSpPr>
      <p:grpSpPr>
        <a:xfrm>
          <a:off x="0" y="0"/>
          <a:ext cx="0" cy="0"/>
          <a:chOff x="0" y="0"/>
          <a:chExt cx="0" cy="0"/>
        </a:xfrm>
      </p:grpSpPr>
      <p:sp>
        <p:nvSpPr>
          <p:cNvPr id="11" name="Title 10"/>
          <p:cNvSpPr>
            <a:spLocks noGrp="1"/>
          </p:cNvSpPr>
          <p:nvPr>
            <p:ph type="title" hasCustomPrompt="1"/>
          </p:nvPr>
        </p:nvSpPr>
        <p:spPr/>
        <p:txBody>
          <a:bodyPr/>
          <a:lstStyle>
            <a:lvl1pPr>
              <a:defRPr/>
            </a:lvl1pPr>
          </a:lstStyle>
          <a:p>
            <a:r>
              <a:rPr lang="nl-NL"/>
              <a:t>Klik om een titel te maken </a:t>
            </a:r>
          </a:p>
        </p:txBody>
      </p:sp>
      <p:sp>
        <p:nvSpPr>
          <p:cNvPr id="31" name="Text Placeholder 30"/>
          <p:cNvSpPr>
            <a:spLocks noGrp="1"/>
          </p:cNvSpPr>
          <p:nvPr>
            <p:ph type="body" sz="quarter" idx="17" hasCustomPrompt="1"/>
          </p:nvPr>
        </p:nvSpPr>
        <p:spPr bwMode="gray">
          <a:xfrm>
            <a:off x="1020000" y="1659736"/>
            <a:ext cx="10152000" cy="756000"/>
          </a:xfrm>
          <a:prstGeom prst="roundRect">
            <a:avLst>
              <a:gd name="adj" fmla="val 14147"/>
            </a:avLst>
          </a:prstGeom>
          <a:solidFill>
            <a:srgbClr val="D4D9E3"/>
          </a:solidFill>
        </p:spPr>
        <p:txBody>
          <a:bodyPr wrap="square" lIns="180000" tIns="36000" rIns="180000" bIns="36000">
            <a:noAutofit/>
          </a:bodyPr>
          <a:lstStyle>
            <a:lvl1pPr>
              <a:lnSpc>
                <a:spcPct val="95000"/>
              </a:lnSpc>
              <a:spcBef>
                <a:spcPts val="0"/>
              </a:spcBef>
              <a:defRPr sz="2000">
                <a:solidFill>
                  <a:schemeClr val="bg1"/>
                </a:solidFill>
              </a:defRPr>
            </a:lvl1pPr>
            <a:lvl2pPr marL="0" indent="0">
              <a:spcBef>
                <a:spcPts val="0"/>
              </a:spcBef>
              <a:buNone/>
              <a:defRPr sz="1400">
                <a:solidFill>
                  <a:schemeClr val="bg1"/>
                </a:solidFill>
              </a:defRPr>
            </a:lvl2pPr>
          </a:lstStyle>
          <a:p>
            <a:pPr lvl="0"/>
            <a:r>
              <a:rPr lang="nl-NL" noProof="0"/>
              <a:t>Agenda item 1</a:t>
            </a:r>
          </a:p>
          <a:p>
            <a:pPr lvl="1"/>
            <a:r>
              <a:rPr lang="nl-NL" noProof="0"/>
              <a:t>Tweede niveau</a:t>
            </a:r>
          </a:p>
        </p:txBody>
      </p:sp>
      <p:sp>
        <p:nvSpPr>
          <p:cNvPr id="32" name="Text Placeholder 31"/>
          <p:cNvSpPr>
            <a:spLocks noGrp="1"/>
          </p:cNvSpPr>
          <p:nvPr>
            <p:ph type="body" sz="quarter" idx="18" hasCustomPrompt="1"/>
          </p:nvPr>
        </p:nvSpPr>
        <p:spPr bwMode="gray">
          <a:xfrm>
            <a:off x="1020000" y="2524727"/>
            <a:ext cx="10152000" cy="756000"/>
          </a:xfrm>
          <a:prstGeom prst="roundRect">
            <a:avLst>
              <a:gd name="adj" fmla="val 14147"/>
            </a:avLst>
          </a:prstGeom>
          <a:solidFill>
            <a:srgbClr val="D4D9E3"/>
          </a:solidFill>
        </p:spPr>
        <p:txBody>
          <a:bodyPr wrap="square" lIns="180000" tIns="36000" rIns="180000" bIns="36000">
            <a:noAutofit/>
          </a:bodyPr>
          <a:lstStyle>
            <a:lvl1pPr>
              <a:lnSpc>
                <a:spcPct val="95000"/>
              </a:lnSpc>
              <a:spcBef>
                <a:spcPts val="0"/>
              </a:spcBef>
              <a:defRPr sz="2000">
                <a:solidFill>
                  <a:schemeClr val="bg1"/>
                </a:solidFill>
              </a:defRPr>
            </a:lvl1pPr>
            <a:lvl2pPr marL="0" indent="0">
              <a:spcBef>
                <a:spcPts val="0"/>
              </a:spcBef>
              <a:buNone/>
              <a:defRPr sz="1400">
                <a:solidFill>
                  <a:schemeClr val="bg1"/>
                </a:solidFill>
              </a:defRPr>
            </a:lvl2pPr>
          </a:lstStyle>
          <a:p>
            <a:pPr lvl="0"/>
            <a:r>
              <a:rPr lang="nl-NL" noProof="0"/>
              <a:t>Agenda item 2</a:t>
            </a:r>
          </a:p>
          <a:p>
            <a:pPr lvl="1"/>
            <a:r>
              <a:rPr lang="nl-NL" noProof="0"/>
              <a:t>Tweede niveau</a:t>
            </a:r>
          </a:p>
        </p:txBody>
      </p:sp>
      <p:sp>
        <p:nvSpPr>
          <p:cNvPr id="33" name="Text Placeholder 32"/>
          <p:cNvSpPr>
            <a:spLocks noGrp="1"/>
          </p:cNvSpPr>
          <p:nvPr>
            <p:ph type="body" sz="quarter" idx="19" hasCustomPrompt="1"/>
          </p:nvPr>
        </p:nvSpPr>
        <p:spPr bwMode="gray">
          <a:xfrm>
            <a:off x="1020000" y="3389718"/>
            <a:ext cx="10152000" cy="756000"/>
          </a:xfrm>
          <a:prstGeom prst="roundRect">
            <a:avLst>
              <a:gd name="adj" fmla="val 14147"/>
            </a:avLst>
          </a:prstGeom>
          <a:solidFill>
            <a:srgbClr val="D4D9E3"/>
          </a:solidFill>
        </p:spPr>
        <p:txBody>
          <a:bodyPr wrap="square" lIns="180000" tIns="36000" rIns="180000" bIns="36000">
            <a:noAutofit/>
          </a:bodyPr>
          <a:lstStyle>
            <a:lvl1pPr>
              <a:lnSpc>
                <a:spcPct val="95000"/>
              </a:lnSpc>
              <a:spcBef>
                <a:spcPts val="0"/>
              </a:spcBef>
              <a:defRPr sz="2000">
                <a:solidFill>
                  <a:schemeClr val="bg1"/>
                </a:solidFill>
              </a:defRPr>
            </a:lvl1pPr>
            <a:lvl2pPr marL="0" indent="0">
              <a:spcBef>
                <a:spcPts val="0"/>
              </a:spcBef>
              <a:buNone/>
              <a:defRPr sz="1400">
                <a:solidFill>
                  <a:schemeClr val="bg1"/>
                </a:solidFill>
              </a:defRPr>
            </a:lvl2pPr>
          </a:lstStyle>
          <a:p>
            <a:pPr lvl="0"/>
            <a:r>
              <a:rPr lang="nl-NL" noProof="0"/>
              <a:t>Agenda item 3</a:t>
            </a:r>
          </a:p>
          <a:p>
            <a:pPr lvl="1"/>
            <a:r>
              <a:rPr lang="nl-NL" noProof="0"/>
              <a:t>Tweede niveau</a:t>
            </a:r>
          </a:p>
        </p:txBody>
      </p:sp>
      <p:sp>
        <p:nvSpPr>
          <p:cNvPr id="34" name="Text Placeholder 33"/>
          <p:cNvSpPr>
            <a:spLocks noGrp="1"/>
          </p:cNvSpPr>
          <p:nvPr>
            <p:ph type="body" sz="quarter" idx="20" hasCustomPrompt="1"/>
          </p:nvPr>
        </p:nvSpPr>
        <p:spPr bwMode="gray">
          <a:xfrm>
            <a:off x="1020000" y="4254709"/>
            <a:ext cx="10152000" cy="756000"/>
          </a:xfrm>
          <a:prstGeom prst="roundRect">
            <a:avLst>
              <a:gd name="adj" fmla="val 14147"/>
            </a:avLst>
          </a:prstGeom>
          <a:solidFill>
            <a:srgbClr val="D4D9E3"/>
          </a:solidFill>
        </p:spPr>
        <p:txBody>
          <a:bodyPr wrap="square" lIns="180000" tIns="36000" rIns="180000" bIns="36000">
            <a:noAutofit/>
          </a:bodyPr>
          <a:lstStyle>
            <a:lvl1pPr>
              <a:lnSpc>
                <a:spcPct val="95000"/>
              </a:lnSpc>
              <a:spcBef>
                <a:spcPts val="0"/>
              </a:spcBef>
              <a:defRPr sz="2000">
                <a:solidFill>
                  <a:schemeClr val="bg1"/>
                </a:solidFill>
              </a:defRPr>
            </a:lvl1pPr>
            <a:lvl2pPr marL="0" indent="0">
              <a:spcBef>
                <a:spcPts val="0"/>
              </a:spcBef>
              <a:buNone/>
              <a:defRPr sz="1400">
                <a:solidFill>
                  <a:schemeClr val="bg1"/>
                </a:solidFill>
              </a:defRPr>
            </a:lvl2pPr>
          </a:lstStyle>
          <a:p>
            <a:pPr lvl="0"/>
            <a:r>
              <a:rPr lang="nl-NL" noProof="0"/>
              <a:t>Agenda item 4</a:t>
            </a:r>
          </a:p>
          <a:p>
            <a:pPr lvl="1"/>
            <a:r>
              <a:rPr lang="nl-NL" noProof="0"/>
              <a:t>Tweede niveau</a:t>
            </a:r>
          </a:p>
        </p:txBody>
      </p:sp>
      <p:sp>
        <p:nvSpPr>
          <p:cNvPr id="35" name="Text Placeholder 34"/>
          <p:cNvSpPr>
            <a:spLocks noGrp="1"/>
          </p:cNvSpPr>
          <p:nvPr>
            <p:ph type="body" sz="quarter" idx="21" hasCustomPrompt="1"/>
          </p:nvPr>
        </p:nvSpPr>
        <p:spPr bwMode="gray">
          <a:xfrm>
            <a:off x="1020000" y="5119700"/>
            <a:ext cx="10152000" cy="756000"/>
          </a:xfrm>
          <a:prstGeom prst="roundRect">
            <a:avLst>
              <a:gd name="adj" fmla="val 14147"/>
            </a:avLst>
          </a:prstGeom>
          <a:solidFill>
            <a:srgbClr val="D4D9E3"/>
          </a:solidFill>
        </p:spPr>
        <p:txBody>
          <a:bodyPr wrap="square" lIns="180000" tIns="36000" rIns="180000" bIns="36000">
            <a:noAutofit/>
          </a:bodyPr>
          <a:lstStyle>
            <a:lvl1pPr>
              <a:lnSpc>
                <a:spcPct val="95000"/>
              </a:lnSpc>
              <a:spcBef>
                <a:spcPts val="0"/>
              </a:spcBef>
              <a:defRPr sz="2000">
                <a:solidFill>
                  <a:schemeClr val="bg1"/>
                </a:solidFill>
              </a:defRPr>
            </a:lvl1pPr>
            <a:lvl2pPr marL="0" indent="0">
              <a:spcBef>
                <a:spcPts val="0"/>
              </a:spcBef>
              <a:buNone/>
              <a:defRPr sz="1400">
                <a:solidFill>
                  <a:schemeClr val="bg1"/>
                </a:solidFill>
              </a:defRPr>
            </a:lvl2pPr>
          </a:lstStyle>
          <a:p>
            <a:pPr lvl="0"/>
            <a:r>
              <a:rPr lang="nl-NL" noProof="0"/>
              <a:t>Agenda item 5</a:t>
            </a:r>
          </a:p>
          <a:p>
            <a:pPr lvl="1"/>
            <a:r>
              <a:rPr lang="nl-NL" noProof="0"/>
              <a:t>Tweede niveau</a:t>
            </a:r>
          </a:p>
        </p:txBody>
      </p:sp>
      <p:sp>
        <p:nvSpPr>
          <p:cNvPr id="15" name="Line 6"/>
          <p:cNvSpPr>
            <a:spLocks noChangeShapeType="1"/>
          </p:cNvSpPr>
          <p:nvPr userDrawn="1"/>
        </p:nvSpPr>
        <p:spPr bwMode="auto">
          <a:xfrm>
            <a:off x="1022350" y="1358900"/>
            <a:ext cx="10147300" cy="0"/>
          </a:xfrm>
          <a:prstGeom prst="line">
            <a:avLst/>
          </a:prstGeom>
          <a:noFill/>
          <a:ln w="6350" cap="flat">
            <a:solidFill>
              <a:srgbClr val="ADB5C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 name="Date Placeholder 2"/>
          <p:cNvSpPr>
            <a:spLocks noGrp="1"/>
          </p:cNvSpPr>
          <p:nvPr>
            <p:ph type="dt" sz="half" idx="22"/>
          </p:nvPr>
        </p:nvSpPr>
        <p:spPr/>
        <p:txBody>
          <a:bodyPr/>
          <a:lstStyle/>
          <a:p>
            <a:r>
              <a:rPr lang="nl-NL"/>
              <a:t>Den Haag • 00 maand jaar</a:t>
            </a:r>
          </a:p>
        </p:txBody>
      </p:sp>
      <p:sp>
        <p:nvSpPr>
          <p:cNvPr id="4" name="Footer Placeholder 3"/>
          <p:cNvSpPr>
            <a:spLocks noGrp="1"/>
          </p:cNvSpPr>
          <p:nvPr>
            <p:ph type="ftr" sz="quarter" idx="23"/>
          </p:nvPr>
        </p:nvSpPr>
        <p:spPr/>
        <p:txBody>
          <a:bodyPr/>
          <a:lstStyle/>
          <a:p>
            <a:r>
              <a:rPr lang="nl-NL"/>
              <a:t>PostNL voettekst</a:t>
            </a:r>
          </a:p>
        </p:txBody>
      </p:sp>
      <p:sp>
        <p:nvSpPr>
          <p:cNvPr id="6" name="Slide Number Placeholder 5"/>
          <p:cNvSpPr>
            <a:spLocks noGrp="1"/>
          </p:cNvSpPr>
          <p:nvPr>
            <p:ph type="sldNum" sz="quarter" idx="24"/>
          </p:nvPr>
        </p:nvSpPr>
        <p:spPr/>
        <p:txBody>
          <a:bodyPr/>
          <a:lstStyle/>
          <a:p>
            <a:fld id="{A1BC669C-0B8C-4F49-8D0F-E81255670A63}" type="slidenum">
              <a:rPr lang="nl-NL" smtClean="0"/>
              <a:pPr/>
              <a:t>‹nr.›</a:t>
            </a:fld>
            <a:endParaRPr lang="nl-NL"/>
          </a:p>
        </p:txBody>
      </p:sp>
      <p:sp>
        <p:nvSpPr>
          <p:cNvPr id="20" name="Text Placeholder 12"/>
          <p:cNvSpPr>
            <a:spLocks noGrp="1"/>
          </p:cNvSpPr>
          <p:nvPr>
            <p:ph type="body" sz="quarter" idx="13" hasCustomPrompt="1"/>
          </p:nvPr>
        </p:nvSpPr>
        <p:spPr>
          <a:xfrm>
            <a:off x="1020000" y="847724"/>
            <a:ext cx="10152000" cy="442855"/>
          </a:xfrm>
        </p:spPr>
        <p:txBody>
          <a:bodyPr>
            <a:noAutofit/>
          </a:bodyPr>
          <a:lstStyle>
            <a:lvl1pPr>
              <a:spcBef>
                <a:spcPts val="0"/>
              </a:spcBef>
              <a:defRPr b="1">
                <a:solidFill>
                  <a:srgbClr val="ED8C00"/>
                </a:solidFill>
              </a:defRPr>
            </a:lvl1pPr>
          </a:lstStyle>
          <a:p>
            <a:pPr lvl="0"/>
            <a:r>
              <a:rPr lang="nl-NL" noProof="0"/>
              <a:t>Klik om een subtitle te maken</a:t>
            </a:r>
          </a:p>
        </p:txBody>
      </p:sp>
    </p:spTree>
    <p:extLst>
      <p:ext uri="{BB962C8B-B14F-4D97-AF65-F5344CB8AC3E}">
        <p14:creationId xmlns:p14="http://schemas.microsoft.com/office/powerpoint/2010/main" val="1566842042"/>
      </p:ext>
    </p:extLst>
  </p:cSld>
  <p:clrMapOvr>
    <a:masterClrMapping/>
  </p:clrMapOvr>
  <p:extLst>
    <p:ext uri="{DCECCB84-F9BA-43D5-87BE-67443E8EF086}">
      <p15:sldGuideLst xmlns:p15="http://schemas.microsoft.com/office/powerpoint/2012/main">
        <p15:guide id="1" pos="642">
          <p15:clr>
            <a:srgbClr val="FBAE40"/>
          </p15:clr>
        </p15:guide>
        <p15:guide id="2" pos="7038">
          <p15:clr>
            <a:srgbClr val="FBAE40"/>
          </p15:clr>
        </p15:guide>
        <p15:guide id="3" orient="horz" pos="3702">
          <p15:clr>
            <a:srgbClr val="FBAE40"/>
          </p15:clr>
        </p15:guide>
        <p15:guide id="4" orient="horz" pos="1049">
          <p15:clr>
            <a:srgbClr val="FBAE40"/>
          </p15:clr>
        </p15:guide>
        <p15:guide id="5" orient="horz" pos="164">
          <p15:clr>
            <a:srgbClr val="FBAE40"/>
          </p15:clr>
        </p15:guide>
        <p15:guide id="6" orient="horz" pos="822">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34" Type="http://schemas.openxmlformats.org/officeDocument/2006/relationships/image" Target="../media/image6.png"/><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image" Target="../media/image5.emf"/><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slideLayout" Target="../slideLayouts/slideLayout31.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oleObject" Target="../embeddings/oleObject1.bin"/><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tags" Target="../tags/tag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219B37A3-82F2-45D5-868F-F00F93F6E7B3}"/>
              </a:ext>
            </a:extLst>
          </p:cNvPr>
          <p:cNvSpPr>
            <a:spLocks noGrp="1"/>
          </p:cNvSpPr>
          <p:nvPr>
            <p:ph type="title"/>
          </p:nvPr>
        </p:nvSpPr>
        <p:spPr>
          <a:xfrm>
            <a:off x="720000" y="360000"/>
            <a:ext cx="10751275" cy="443198"/>
          </a:xfrm>
          <a:prstGeom prst="rect">
            <a:avLst/>
          </a:prstGeom>
        </p:spPr>
        <p:txBody>
          <a:bodyPr vert="horz" lIns="0" tIns="0" rIns="0" bIns="0" rtlCol="0" anchor="t">
            <a:spAutoFit/>
          </a:bodyPr>
          <a:lstStyle/>
          <a:p>
            <a:r>
              <a:rPr lang="nl-NL" noProof="0"/>
              <a:t>Plaats titel hier</a:t>
            </a:r>
          </a:p>
        </p:txBody>
      </p:sp>
      <p:sp>
        <p:nvSpPr>
          <p:cNvPr id="3" name="Tijdelijke aanduiding voor tekst 2">
            <a:extLst>
              <a:ext uri="{FF2B5EF4-FFF2-40B4-BE49-F238E27FC236}">
                <a16:creationId xmlns:a16="http://schemas.microsoft.com/office/drawing/2014/main" id="{061B9A90-182E-49A3-8BF5-04F32288137B}"/>
              </a:ext>
            </a:extLst>
          </p:cNvPr>
          <p:cNvSpPr>
            <a:spLocks noGrp="1"/>
          </p:cNvSpPr>
          <p:nvPr>
            <p:ph type="body" idx="1"/>
          </p:nvPr>
        </p:nvSpPr>
        <p:spPr>
          <a:xfrm>
            <a:off x="720000" y="1593843"/>
            <a:ext cx="10753200" cy="4238632"/>
          </a:xfrm>
          <a:prstGeom prst="rect">
            <a:avLst/>
          </a:prstGeom>
        </p:spPr>
        <p:txBody>
          <a:bodyPr vert="horz" lIns="0" tIns="0" rIns="0" bIns="0" rtlCol="0">
            <a:noAutofit/>
          </a:body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Kop #1</a:t>
            </a:r>
          </a:p>
          <a:p>
            <a:pPr lvl="5"/>
            <a:r>
              <a:rPr lang="nl-NL" noProof="0"/>
              <a:t>Kop #2</a:t>
            </a:r>
          </a:p>
          <a:p>
            <a:pPr lvl="6"/>
            <a:r>
              <a:rPr lang="nl-NL" noProof="0"/>
              <a:t>Numerieke </a:t>
            </a:r>
            <a:r>
              <a:rPr lang="nl-NL" noProof="0" err="1"/>
              <a:t>bullet</a:t>
            </a:r>
            <a:endParaRPr lang="nl-NL" noProof="0"/>
          </a:p>
          <a:p>
            <a:pPr lvl="7"/>
            <a:r>
              <a:rPr lang="nl-NL" noProof="0"/>
              <a:t>Alfabetische </a:t>
            </a:r>
            <a:r>
              <a:rPr lang="nl-NL" noProof="0" err="1"/>
              <a:t>bullet</a:t>
            </a:r>
            <a:endParaRPr lang="nl-NL" noProof="0"/>
          </a:p>
          <a:p>
            <a:pPr lvl="8"/>
            <a:r>
              <a:rPr lang="nl-NL" noProof="0"/>
              <a:t>Bronvermelding</a:t>
            </a:r>
          </a:p>
        </p:txBody>
      </p:sp>
      <p:grpSp>
        <p:nvGrpSpPr>
          <p:cNvPr id="15" name="GRID" hidden="1">
            <a:extLst>
              <a:ext uri="{FF2B5EF4-FFF2-40B4-BE49-F238E27FC236}">
                <a16:creationId xmlns:a16="http://schemas.microsoft.com/office/drawing/2014/main" id="{4129D105-9E64-446B-9706-45C80CEFF79A}"/>
              </a:ext>
            </a:extLst>
          </p:cNvPr>
          <p:cNvGrpSpPr/>
          <p:nvPr userDrawn="1"/>
        </p:nvGrpSpPr>
        <p:grpSpPr>
          <a:xfrm>
            <a:off x="-12032" y="0"/>
            <a:ext cx="12204032" cy="6858000"/>
            <a:chOff x="-12032" y="0"/>
            <a:chExt cx="12204032" cy="6858000"/>
          </a:xfrm>
        </p:grpSpPr>
        <p:sp>
          <p:nvSpPr>
            <p:cNvPr id="8" name="Rechthoek 7">
              <a:extLst>
                <a:ext uri="{FF2B5EF4-FFF2-40B4-BE49-F238E27FC236}">
                  <a16:creationId xmlns:a16="http://schemas.microsoft.com/office/drawing/2014/main" id="{7D9988B5-FF41-44BF-9EBA-8ED0383D0B4A}"/>
                </a:ext>
              </a:extLst>
            </p:cNvPr>
            <p:cNvSpPr/>
            <p:nvPr userDrawn="1"/>
          </p:nvSpPr>
          <p:spPr>
            <a:xfrm>
              <a:off x="-12032" y="0"/>
              <a:ext cx="12192000" cy="72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223B51F0-7066-4BAC-B391-CBE4243866E1}"/>
                </a:ext>
              </a:extLst>
            </p:cNvPr>
            <p:cNvSpPr/>
            <p:nvPr userDrawn="1"/>
          </p:nvSpPr>
          <p:spPr>
            <a:xfrm>
              <a:off x="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986314BC-5B6A-423E-A18F-BE67EEBFD0AA}"/>
                </a:ext>
              </a:extLst>
            </p:cNvPr>
            <p:cNvSpPr/>
            <p:nvPr userDrawn="1"/>
          </p:nvSpPr>
          <p:spPr>
            <a:xfrm>
              <a:off x="1147200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459F3FC6-346A-4720-8A58-EF51F3E955F9}"/>
                </a:ext>
              </a:extLst>
            </p:cNvPr>
            <p:cNvSpPr/>
            <p:nvPr userDrawn="1"/>
          </p:nvSpPr>
          <p:spPr>
            <a:xfrm>
              <a:off x="0" y="1064525"/>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7" name="Rechthoek 16">
              <a:extLst>
                <a:ext uri="{FF2B5EF4-FFF2-40B4-BE49-F238E27FC236}">
                  <a16:creationId xmlns:a16="http://schemas.microsoft.com/office/drawing/2014/main" id="{3D4E2D73-574C-4613-A3A4-5612A2E130A4}"/>
                </a:ext>
              </a:extLst>
            </p:cNvPr>
            <p:cNvSpPr/>
            <p:nvPr userDrawn="1"/>
          </p:nvSpPr>
          <p:spPr>
            <a:xfrm>
              <a:off x="0" y="6498000"/>
              <a:ext cx="12192000" cy="36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8" name="Rechthoek 17">
              <a:extLst>
                <a:ext uri="{FF2B5EF4-FFF2-40B4-BE49-F238E27FC236}">
                  <a16:creationId xmlns:a16="http://schemas.microsoft.com/office/drawing/2014/main" id="{52775937-D9EA-4974-9459-412AF5D1CBD4}"/>
                </a:ext>
              </a:extLst>
            </p:cNvPr>
            <p:cNvSpPr/>
            <p:nvPr userDrawn="1"/>
          </p:nvSpPr>
          <p:spPr>
            <a:xfrm>
              <a:off x="0" y="5806208"/>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20" name="Tekstvak 19">
            <a:extLst>
              <a:ext uri="{FF2B5EF4-FFF2-40B4-BE49-F238E27FC236}">
                <a16:creationId xmlns:a16="http://schemas.microsoft.com/office/drawing/2014/main" id="{88A106C3-3B5C-4817-A9B9-E1AA65368768}"/>
              </a:ext>
            </a:extLst>
          </p:cNvPr>
          <p:cNvSpPr txBox="1"/>
          <p:nvPr userDrawn="1"/>
        </p:nvSpPr>
        <p:spPr>
          <a:xfrm>
            <a:off x="-12032" y="-573844"/>
            <a:ext cx="3994152" cy="180000"/>
          </a:xfrm>
          <a:prstGeom prst="rect">
            <a:avLst/>
          </a:prstGeom>
          <a:noFill/>
        </p:spPr>
        <p:txBody>
          <a:bodyPr wrap="none" lIns="0" tIns="0" rIns="0" bIns="0" rtlCol="0" anchor="b">
            <a:noAutofit/>
          </a:bodyPr>
          <a:lstStyle/>
          <a:p>
            <a:pPr algn="l"/>
            <a:r>
              <a:rPr lang="nl-NL" sz="1000" b="0" cap="all" baseline="0" noProof="0">
                <a:solidFill>
                  <a:schemeClr val="bg1">
                    <a:lumMod val="50000"/>
                  </a:schemeClr>
                </a:solidFill>
                <a:latin typeface="+mn-lt"/>
              </a:rPr>
              <a:t>INDELING</a:t>
            </a:r>
          </a:p>
        </p:txBody>
      </p:sp>
      <p:sp>
        <p:nvSpPr>
          <p:cNvPr id="28" name="Tijdelijke aanduiding voor datum 3">
            <a:extLst>
              <a:ext uri="{FF2B5EF4-FFF2-40B4-BE49-F238E27FC236}">
                <a16:creationId xmlns:a16="http://schemas.microsoft.com/office/drawing/2014/main" id="{913F724C-C8A8-4D7C-A490-D6011A81D6CD}"/>
              </a:ext>
            </a:extLst>
          </p:cNvPr>
          <p:cNvSpPr>
            <a:spLocks noGrp="1"/>
          </p:cNvSpPr>
          <p:nvPr>
            <p:ph type="dt" sz="half" idx="2"/>
          </p:nvPr>
        </p:nvSpPr>
        <p:spPr>
          <a:xfrm>
            <a:off x="9278694" y="6965648"/>
            <a:ext cx="2913306" cy="144759"/>
          </a:xfrm>
          <a:prstGeom prst="rect">
            <a:avLst/>
          </a:prstGeom>
        </p:spPr>
        <p:txBody>
          <a:bodyPr vert="horz" lIns="0" tIns="0" rIns="0" bIns="0" rtlCol="0" anchor="ctr"/>
          <a:lstStyle>
            <a:lvl1pPr algn="r">
              <a:defRPr sz="800">
                <a:solidFill>
                  <a:schemeClr val="accent2"/>
                </a:solidFill>
                <a:latin typeface="+mn-lt"/>
                <a:cs typeface="Segoe UI Light" panose="020B0502040204020203" pitchFamily="34" charset="0"/>
              </a:defRPr>
            </a:lvl1pPr>
          </a:lstStyle>
          <a:p>
            <a:fld id="{EA44EF0D-CBF6-4977-97E0-F06766CD960C}" type="datetime4">
              <a:rPr lang="nl-NL" smtClean="0"/>
              <a:t>16 februari 2024</a:t>
            </a:fld>
            <a:endParaRPr lang="nl-NL"/>
          </a:p>
        </p:txBody>
      </p:sp>
      <p:sp>
        <p:nvSpPr>
          <p:cNvPr id="29" name="Tijdelijke aanduiding voor voettekst 4">
            <a:extLst>
              <a:ext uri="{FF2B5EF4-FFF2-40B4-BE49-F238E27FC236}">
                <a16:creationId xmlns:a16="http://schemas.microsoft.com/office/drawing/2014/main" id="{8E242A96-65D5-44C2-9B90-81D00C90D4FC}"/>
              </a:ext>
            </a:extLst>
          </p:cNvPr>
          <p:cNvSpPr>
            <a:spLocks noGrp="1"/>
          </p:cNvSpPr>
          <p:nvPr>
            <p:ph type="ftr" sz="quarter" idx="3"/>
          </p:nvPr>
        </p:nvSpPr>
        <p:spPr>
          <a:xfrm>
            <a:off x="719999" y="6965647"/>
            <a:ext cx="5376001" cy="144759"/>
          </a:xfrm>
          <a:prstGeom prst="rect">
            <a:avLst/>
          </a:prstGeom>
        </p:spPr>
        <p:txBody>
          <a:bodyPr vert="horz" lIns="0" tIns="0" rIns="0" bIns="0" rtlCol="0" anchor="ctr"/>
          <a:lstStyle>
            <a:lvl1pPr algn="l">
              <a:defRPr sz="800">
                <a:solidFill>
                  <a:schemeClr val="tx2"/>
                </a:solidFill>
                <a:latin typeface="+mn-lt"/>
                <a:cs typeface="Segoe UI Light" panose="020B0502040204020203" pitchFamily="34" charset="0"/>
              </a:defRPr>
            </a:lvl1pPr>
          </a:lstStyle>
          <a:p>
            <a:r>
              <a:rPr lang="nl-NL"/>
              <a:t>Template-set PostNL</a:t>
            </a:r>
          </a:p>
        </p:txBody>
      </p:sp>
      <p:sp>
        <p:nvSpPr>
          <p:cNvPr id="30" name="Tijdelijke aanduiding voor dianummer 5">
            <a:extLst>
              <a:ext uri="{FF2B5EF4-FFF2-40B4-BE49-F238E27FC236}">
                <a16:creationId xmlns:a16="http://schemas.microsoft.com/office/drawing/2014/main" id="{97B5FD88-660A-4FF5-BB5B-19029FB61217}"/>
              </a:ext>
            </a:extLst>
          </p:cNvPr>
          <p:cNvSpPr>
            <a:spLocks noGrp="1"/>
          </p:cNvSpPr>
          <p:nvPr>
            <p:ph type="sldNum" sz="quarter" idx="4"/>
          </p:nvPr>
        </p:nvSpPr>
        <p:spPr>
          <a:xfrm>
            <a:off x="322394" y="6344941"/>
            <a:ext cx="270000" cy="144759"/>
          </a:xfrm>
          <a:prstGeom prst="rect">
            <a:avLst/>
          </a:prstGeom>
        </p:spPr>
        <p:txBody>
          <a:bodyPr vert="horz" lIns="0" tIns="0" rIns="0" bIns="0" rtlCol="0" anchor="ctr"/>
          <a:lstStyle>
            <a:lvl1pPr algn="ctr">
              <a:defRPr sz="1100" b="0">
                <a:solidFill>
                  <a:schemeClr val="accent2"/>
                </a:solidFill>
                <a:latin typeface="+mj-lt"/>
                <a:cs typeface="Segoe UI Light" panose="020B0502040204020203" pitchFamily="34" charset="0"/>
              </a:defRPr>
            </a:lvl1pPr>
          </a:lstStyle>
          <a:p>
            <a:fld id="{9E843DB9-9987-4157-AB9C-CEA8D7D910BB}" type="slidenum">
              <a:rPr lang="nl-NL" smtClean="0"/>
              <a:pPr/>
              <a:t>‹nr.›</a:t>
            </a:fld>
            <a:endParaRPr lang="nl-NL"/>
          </a:p>
        </p:txBody>
      </p:sp>
    </p:spTree>
    <p:extLst>
      <p:ext uri="{BB962C8B-B14F-4D97-AF65-F5344CB8AC3E}">
        <p14:creationId xmlns:p14="http://schemas.microsoft.com/office/powerpoint/2010/main" val="1952872025"/>
      </p:ext>
    </p:extLst>
  </p:cSld>
  <p:clrMap bg1="lt1" tx1="dk1" bg2="lt2" tx2="dk2" accent1="accent1" accent2="accent2" accent3="accent3" accent4="accent4" accent5="accent5" accent6="accent6" hlink="hlink" folHlink="folHlink"/>
  <p:sldLayoutIdLst>
    <p:sldLayoutId id="2147483661" r:id="rId1"/>
    <p:sldLayoutId id="2147483662"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400" rtl="0" eaLnBrk="1" latinLnBrk="0" hangingPunct="1">
        <a:lnSpc>
          <a:spcPct val="90000"/>
        </a:lnSpc>
        <a:spcBef>
          <a:spcPct val="0"/>
        </a:spcBef>
        <a:buNone/>
        <a:defRPr sz="3200" b="1" kern="1200">
          <a:solidFill>
            <a:srgbClr val="001A73"/>
          </a:solidFill>
          <a:latin typeface="+mj-lt"/>
          <a:ea typeface="+mj-ea"/>
          <a:cs typeface="+mj-cs"/>
        </a:defRPr>
      </a:lvl1pPr>
    </p:titleStyle>
    <p:bodyStyle>
      <a:lvl1pPr marL="266700" indent="-266700" algn="l" defTabSz="914400" rtl="0" eaLnBrk="1" latinLnBrk="0" hangingPunct="1">
        <a:lnSpc>
          <a:spcPct val="90000"/>
        </a:lnSpc>
        <a:spcBef>
          <a:spcPts val="500"/>
        </a:spcBef>
        <a:spcAft>
          <a:spcPts val="500"/>
        </a:spcAft>
        <a:buClr>
          <a:schemeClr val="accent2"/>
        </a:buClr>
        <a:buFont typeface="Arial" panose="020B0604020202020204" pitchFamily="34" charset="0"/>
        <a:buChar char="•"/>
        <a:defRPr sz="1800" kern="1200">
          <a:solidFill>
            <a:schemeClr val="accent2"/>
          </a:solidFill>
          <a:latin typeface="+mn-lt"/>
          <a:ea typeface="+mn-ea"/>
          <a:cs typeface="+mn-cs"/>
        </a:defRPr>
      </a:lvl1pPr>
      <a:lvl2pPr marL="539750" indent="-273050" algn="l" defTabSz="914400" rtl="0" eaLnBrk="1" latinLnBrk="0" hangingPunct="1">
        <a:lnSpc>
          <a:spcPct val="90000"/>
        </a:lnSpc>
        <a:spcBef>
          <a:spcPts val="500"/>
        </a:spcBef>
        <a:spcAft>
          <a:spcPts val="500"/>
        </a:spcAft>
        <a:buClr>
          <a:schemeClr val="accent2"/>
        </a:buClr>
        <a:buFont typeface="Arial" panose="020B0604020202020204" pitchFamily="34" charset="0"/>
        <a:buChar char="•"/>
        <a:tabLst/>
        <a:defRPr sz="1800" kern="1200">
          <a:solidFill>
            <a:schemeClr val="accent2"/>
          </a:solidFill>
          <a:latin typeface="+mn-lt"/>
          <a:ea typeface="+mn-ea"/>
          <a:cs typeface="+mn-cs"/>
        </a:defRPr>
      </a:lvl2pPr>
      <a:lvl3pPr marL="806450" indent="-266700" algn="l" defTabSz="1346200" rtl="0" eaLnBrk="1" latinLnBrk="0" hangingPunct="1">
        <a:lnSpc>
          <a:spcPct val="90000"/>
        </a:lnSpc>
        <a:spcBef>
          <a:spcPts val="500"/>
        </a:spcBef>
        <a:spcAft>
          <a:spcPts val="500"/>
        </a:spcAft>
        <a:buClr>
          <a:schemeClr val="accent2"/>
        </a:buClr>
        <a:buFont typeface="Segoe UI Light" panose="020B0502040204020203" pitchFamily="34" charset="0"/>
        <a:buChar char="–"/>
        <a:tabLst/>
        <a:defRPr sz="1600" kern="1200">
          <a:solidFill>
            <a:schemeClr val="accent2"/>
          </a:solidFill>
          <a:latin typeface="+mn-lt"/>
          <a:ea typeface="+mn-ea"/>
          <a:cs typeface="+mn-cs"/>
        </a:defRPr>
      </a:lvl3pPr>
      <a:lvl4pPr marL="0" indent="0" algn="l" defTabSz="914400" rtl="0" eaLnBrk="1" latinLnBrk="0" hangingPunct="1">
        <a:lnSpc>
          <a:spcPct val="90000"/>
        </a:lnSpc>
        <a:spcBef>
          <a:spcPts val="500"/>
        </a:spcBef>
        <a:spcAft>
          <a:spcPts val="500"/>
        </a:spcAft>
        <a:buFont typeface="Arial" panose="020B0604020202020204" pitchFamily="34" charset="0"/>
        <a:buNone/>
        <a:defRPr sz="1800" kern="1200">
          <a:solidFill>
            <a:schemeClr val="accent2"/>
          </a:solidFill>
          <a:latin typeface="+mn-lt"/>
          <a:ea typeface="+mn-ea"/>
          <a:cs typeface="+mn-cs"/>
        </a:defRPr>
      </a:lvl4pPr>
      <a:lvl5pPr marL="0" indent="0" algn="l" defTabSz="914400" rtl="0" eaLnBrk="1" latinLnBrk="0" hangingPunct="1">
        <a:lnSpc>
          <a:spcPct val="90000"/>
        </a:lnSpc>
        <a:spcBef>
          <a:spcPts val="500"/>
        </a:spcBef>
        <a:spcAft>
          <a:spcPts val="500"/>
        </a:spcAft>
        <a:buFont typeface="Arial" panose="020B0604020202020204" pitchFamily="34" charset="0"/>
        <a:buNone/>
        <a:defRPr sz="1800" b="1" kern="1200">
          <a:solidFill>
            <a:schemeClr val="accent1"/>
          </a:solidFill>
          <a:latin typeface="+mj-lt"/>
          <a:ea typeface="+mn-ea"/>
          <a:cs typeface="+mn-cs"/>
        </a:defRPr>
      </a:lvl5pPr>
      <a:lvl6pPr marL="0" indent="0" algn="l" defTabSz="914400" rtl="0" eaLnBrk="1" latinLnBrk="0" hangingPunct="1">
        <a:lnSpc>
          <a:spcPct val="90000"/>
        </a:lnSpc>
        <a:spcBef>
          <a:spcPts val="500"/>
        </a:spcBef>
        <a:spcAft>
          <a:spcPts val="500"/>
        </a:spcAft>
        <a:buClr>
          <a:schemeClr val="accent1"/>
        </a:buClr>
        <a:buFont typeface="Arial" panose="020B0604020202020204" pitchFamily="34" charset="0"/>
        <a:buNone/>
        <a:defRPr sz="2000" b="1" kern="1200" cap="none" baseline="0">
          <a:solidFill>
            <a:schemeClr val="accent2"/>
          </a:solidFill>
          <a:latin typeface="+mj-lt"/>
          <a:ea typeface="+mn-ea"/>
          <a:cs typeface="+mn-cs"/>
        </a:defRPr>
      </a:lvl6pPr>
      <a:lvl7pPr marL="268288" indent="-268288" algn="l" defTabSz="914400" rtl="0" eaLnBrk="1" latinLnBrk="0" hangingPunct="1">
        <a:lnSpc>
          <a:spcPct val="90000"/>
        </a:lnSpc>
        <a:spcBef>
          <a:spcPts val="500"/>
        </a:spcBef>
        <a:spcAft>
          <a:spcPts val="500"/>
        </a:spcAft>
        <a:buClr>
          <a:schemeClr val="accent2"/>
        </a:buClr>
        <a:buFont typeface="+mj-lt"/>
        <a:buAutoNum type="arabicPeriod"/>
        <a:tabLst/>
        <a:defRPr sz="1800" kern="1200">
          <a:solidFill>
            <a:schemeClr val="accent2"/>
          </a:solidFill>
          <a:latin typeface="+mn-lt"/>
          <a:ea typeface="+mn-ea"/>
          <a:cs typeface="+mn-cs"/>
        </a:defRPr>
      </a:lvl7pPr>
      <a:lvl8pPr marL="536575" indent="-268288" algn="l" defTabSz="914400" rtl="0" eaLnBrk="1" latinLnBrk="0" hangingPunct="1">
        <a:lnSpc>
          <a:spcPct val="90000"/>
        </a:lnSpc>
        <a:spcBef>
          <a:spcPts val="500"/>
        </a:spcBef>
        <a:spcAft>
          <a:spcPts val="500"/>
        </a:spcAft>
        <a:buClr>
          <a:schemeClr val="accent2"/>
        </a:buClr>
        <a:buFont typeface="+mj-lt"/>
        <a:buAutoNum type="alphaLcPeriod"/>
        <a:defRPr sz="1600" kern="1200">
          <a:solidFill>
            <a:schemeClr val="accent2"/>
          </a:solidFill>
          <a:latin typeface="+mn-lt"/>
          <a:ea typeface="+mn-ea"/>
          <a:cs typeface="+mn-cs"/>
        </a:defRPr>
      </a:lvl8pPr>
      <a:lvl9pPr marL="0" indent="0" algn="l" defTabSz="914400" rtl="0" eaLnBrk="1" latinLnBrk="0" hangingPunct="1">
        <a:lnSpc>
          <a:spcPct val="90000"/>
        </a:lnSpc>
        <a:spcBef>
          <a:spcPts val="500"/>
        </a:spcBef>
        <a:spcAft>
          <a:spcPts val="500"/>
        </a:spcAft>
        <a:buClr>
          <a:schemeClr val="accent1"/>
        </a:buClr>
        <a:buFont typeface="Arial" panose="020B0604020202020204" pitchFamily="34" charset="0"/>
        <a:buNone/>
        <a:defRPr sz="1600" i="1" kern="1200">
          <a:solidFill>
            <a:schemeClr val="tx2"/>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03">
          <p15:clr>
            <a:srgbClr val="A4A3A4"/>
          </p15:clr>
        </p15:guide>
        <p15:guide id="3" orient="horz" pos="3681">
          <p15:clr>
            <a:srgbClr val="A4A3A4"/>
          </p15:clr>
        </p15:guide>
        <p15:guide id="6" pos="7229">
          <p15:clr>
            <a:srgbClr val="A4A3A4"/>
          </p15:clr>
        </p15:guide>
        <p15:guide id="9" orient="horz" pos="225">
          <p15:clr>
            <a:srgbClr val="A4A3A4"/>
          </p15:clr>
        </p15:guide>
        <p15:guide id="12" orient="horz" pos="3996">
          <p15:clr>
            <a:srgbClr val="A4A3A4"/>
          </p15:clr>
        </p15:guide>
        <p15:guide id="14" orient="horz" pos="4320">
          <p15:clr>
            <a:srgbClr val="547EBF"/>
          </p15:clr>
        </p15:guide>
        <p15:guide id="15" orient="horz" pos="4088">
          <p15:clr>
            <a:srgbClr val="A4A3A4"/>
          </p15:clr>
        </p15:guide>
        <p15:guide id="16">
          <p15:clr>
            <a:srgbClr val="547EBF"/>
          </p15:clr>
        </p15:guide>
        <p15:guide id="17" orient="horz">
          <p15:clr>
            <a:srgbClr val="547EBF"/>
          </p15:clr>
        </p15:guide>
        <p15:guide id="18" orient="horz" pos="506">
          <p15:clr>
            <a:srgbClr val="A4A3A4"/>
          </p15:clr>
        </p15:guide>
        <p15:guide id="20" pos="7680">
          <p15:clr>
            <a:srgbClr val="547EBF"/>
          </p15:clr>
        </p15:guide>
        <p15:guide id="21" pos="7449">
          <p15:clr>
            <a:srgbClr val="A4A3A4"/>
          </p15:clr>
        </p15:guide>
        <p15:guide id="23" pos="453">
          <p15:clr>
            <a:srgbClr val="A4A3A4"/>
          </p15:clr>
        </p15:guide>
        <p15:guide id="24"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FE3869A-9129-4178-9406-DDEC854365F6}"/>
              </a:ext>
            </a:extLst>
          </p:cNvPr>
          <p:cNvGraphicFramePr>
            <a:graphicFrameLocks noChangeAspect="1"/>
          </p:cNvGraphicFramePr>
          <p:nvPr userDrawn="1">
            <p:custDataLst>
              <p:tags r:id="rId31"/>
            </p:custDataLst>
            <p:extLst>
              <p:ext uri="{D42A27DB-BD31-4B8C-83A1-F6EECF244321}">
                <p14:modId xmlns:p14="http://schemas.microsoft.com/office/powerpoint/2010/main" val="372333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592" imgH="591" progId="TCLayout.ActiveDocument.1">
                  <p:embed/>
                </p:oleObj>
              </mc:Choice>
              <mc:Fallback>
                <p:oleObj name="think-cell Slide" r:id="rId32" imgW="592" imgH="591" progId="TCLayout.ActiveDocument.1">
                  <p:embed/>
                  <p:pic>
                    <p:nvPicPr>
                      <p:cNvPr id="8" name="Object 7" hidden="1">
                        <a:extLst>
                          <a:ext uri="{FF2B5EF4-FFF2-40B4-BE49-F238E27FC236}">
                            <a16:creationId xmlns:a16="http://schemas.microsoft.com/office/drawing/2014/main" id="{BFE3869A-9129-4178-9406-DDEC854365F6}"/>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7" name="Rectangle 5"/>
          <p:cNvSpPr>
            <a:spLocks noChangeArrowheads="1"/>
          </p:cNvSpPr>
          <p:nvPr userDrawn="1"/>
        </p:nvSpPr>
        <p:spPr bwMode="gray">
          <a:xfrm>
            <a:off x="0" y="6345239"/>
            <a:ext cx="12192000" cy="512763"/>
          </a:xfrm>
          <a:prstGeom prst="rect">
            <a:avLst/>
          </a:prstGeom>
          <a:solidFill>
            <a:srgbClr val="F3F4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 name="Title Placeholder 1"/>
          <p:cNvSpPr>
            <a:spLocks noGrp="1"/>
          </p:cNvSpPr>
          <p:nvPr>
            <p:ph type="title"/>
          </p:nvPr>
        </p:nvSpPr>
        <p:spPr bwMode="gray">
          <a:xfrm>
            <a:off x="1020000" y="260350"/>
            <a:ext cx="10152000" cy="1030230"/>
          </a:xfrm>
          <a:prstGeom prst="rect">
            <a:avLst/>
          </a:prstGeom>
        </p:spPr>
        <p:txBody>
          <a:bodyPr vert="horz" lIns="0" tIns="0" rIns="0" bIns="0" rtlCol="0" anchor="t" anchorCtr="0">
            <a:noAutofit/>
          </a:bodyPr>
          <a:lstStyle/>
          <a:p>
            <a:r>
              <a:rPr lang="nl-NL"/>
              <a:t>Klik om een titel te maken.</a:t>
            </a:r>
          </a:p>
        </p:txBody>
      </p:sp>
      <p:sp>
        <p:nvSpPr>
          <p:cNvPr id="3" name="Text Placeholder 2"/>
          <p:cNvSpPr>
            <a:spLocks noGrp="1"/>
          </p:cNvSpPr>
          <p:nvPr>
            <p:ph type="body" idx="1"/>
          </p:nvPr>
        </p:nvSpPr>
        <p:spPr bwMode="gray">
          <a:xfrm>
            <a:off x="1020000" y="1663700"/>
            <a:ext cx="10152000" cy="4212000"/>
          </a:xfrm>
          <a:prstGeom prst="rect">
            <a:avLst/>
          </a:prstGeom>
        </p:spPr>
        <p:txBody>
          <a:bodyPr vert="horz" lIns="0" tIns="0" rIns="0" bIns="0" rtlCol="0">
            <a:noAutofit/>
          </a:bodyPr>
          <a:lstStyle/>
          <a:p>
            <a:pPr lvl="0"/>
            <a:r>
              <a:rPr lang="nl-NL"/>
              <a:t>Eerste niveau</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p:txBody>
      </p:sp>
      <p:sp>
        <p:nvSpPr>
          <p:cNvPr id="5" name="Footer Placeholder 4"/>
          <p:cNvSpPr>
            <a:spLocks noGrp="1"/>
          </p:cNvSpPr>
          <p:nvPr>
            <p:ph type="ftr" sz="quarter" idx="3"/>
          </p:nvPr>
        </p:nvSpPr>
        <p:spPr bwMode="gray">
          <a:xfrm>
            <a:off x="1020000" y="6465638"/>
            <a:ext cx="10008000" cy="280800"/>
          </a:xfrm>
          <a:prstGeom prst="rect">
            <a:avLst/>
          </a:prstGeom>
        </p:spPr>
        <p:txBody>
          <a:bodyPr vert="horz" lIns="0" tIns="0" rIns="0" bIns="0" rtlCol="0" anchor="ctr"/>
          <a:lstStyle>
            <a:lvl1pPr algn="l">
              <a:defRPr sz="1500">
                <a:solidFill>
                  <a:schemeClr val="tx1"/>
                </a:solidFill>
              </a:defRPr>
            </a:lvl1pPr>
          </a:lstStyle>
          <a:p>
            <a:r>
              <a:rPr lang="nl-NL"/>
              <a:t>PostNL voettekst</a:t>
            </a:r>
          </a:p>
        </p:txBody>
      </p:sp>
      <p:sp>
        <p:nvSpPr>
          <p:cNvPr id="6" name="Slide Number Placeholder 5"/>
          <p:cNvSpPr>
            <a:spLocks noGrp="1"/>
          </p:cNvSpPr>
          <p:nvPr>
            <p:ph type="sldNum" sz="quarter" idx="4"/>
          </p:nvPr>
        </p:nvSpPr>
        <p:spPr bwMode="gray">
          <a:xfrm>
            <a:off x="0" y="6465638"/>
            <a:ext cx="612000" cy="280800"/>
          </a:xfrm>
          <a:prstGeom prst="rect">
            <a:avLst/>
          </a:prstGeom>
        </p:spPr>
        <p:txBody>
          <a:bodyPr vert="horz" lIns="0" tIns="0" rIns="0" bIns="0" rtlCol="0" anchor="ctr"/>
          <a:lstStyle>
            <a:lvl1pPr algn="r">
              <a:defRPr sz="1500" b="1">
                <a:solidFill>
                  <a:srgbClr val="ED8C00"/>
                </a:solidFill>
              </a:defRPr>
            </a:lvl1pPr>
          </a:lstStyle>
          <a:p>
            <a:fld id="{A1BC669C-0B8C-4F49-8D0F-E81255670A63}" type="slidenum">
              <a:rPr lang="nl-NL" smtClean="0"/>
              <a:pPr/>
              <a:t>‹nr.›</a:t>
            </a:fld>
            <a:endParaRPr lang="nl-NL"/>
          </a:p>
        </p:txBody>
      </p:sp>
      <p:pic>
        <p:nvPicPr>
          <p:cNvPr id="14" name="Picture 13"/>
          <p:cNvPicPr>
            <a:picLocks noChangeAspect="1"/>
          </p:cNvPicPr>
          <p:nvPr userDrawn="1"/>
        </p:nvPicPr>
        <p:blipFill>
          <a:blip r:embed="rId34"/>
          <a:stretch>
            <a:fillRect/>
          </a:stretch>
        </p:blipFill>
        <p:spPr bwMode="gray">
          <a:xfrm>
            <a:off x="11019700" y="5912714"/>
            <a:ext cx="846000" cy="846000"/>
          </a:xfrm>
          <a:prstGeom prst="rect">
            <a:avLst/>
          </a:prstGeom>
        </p:spPr>
      </p:pic>
      <p:sp>
        <p:nvSpPr>
          <p:cNvPr id="12" name="Date Placeholder 11"/>
          <p:cNvSpPr>
            <a:spLocks noGrp="1"/>
          </p:cNvSpPr>
          <p:nvPr>
            <p:ph type="dt" sz="half" idx="2"/>
          </p:nvPr>
        </p:nvSpPr>
        <p:spPr>
          <a:xfrm rot="16200000">
            <a:off x="-1905634" y="5003999"/>
            <a:ext cx="3600000" cy="108000"/>
          </a:xfrm>
          <a:prstGeom prst="rect">
            <a:avLst/>
          </a:prstGeom>
        </p:spPr>
        <p:txBody>
          <a:bodyPr vert="horz" lIns="0" tIns="0" rIns="0" bIns="0" rtlCol="0" anchor="ctr"/>
          <a:lstStyle>
            <a:lvl1pPr algn="l">
              <a:defRPr sz="500">
                <a:solidFill>
                  <a:schemeClr val="bg1"/>
                </a:solidFill>
              </a:defRPr>
            </a:lvl1pPr>
          </a:lstStyle>
          <a:p>
            <a:r>
              <a:rPr lang="nl-NL" noProof="0"/>
              <a:t>Den Haag • 00 maand jaar</a:t>
            </a:r>
          </a:p>
        </p:txBody>
      </p:sp>
      <p:sp>
        <p:nvSpPr>
          <p:cNvPr id="4" name="Workspace [Presentation]" hidden="1">
            <a:extLst>
              <a:ext uri="{FF2B5EF4-FFF2-40B4-BE49-F238E27FC236}">
                <a16:creationId xmlns:a16="http://schemas.microsoft.com/office/drawing/2014/main" id="{36284FE3-FA5F-4A63-B2A9-2A034BF63985}"/>
              </a:ext>
            </a:extLst>
          </p:cNvPr>
          <p:cNvSpPr/>
          <p:nvPr userDrawn="1"/>
        </p:nvSpPr>
        <p:spPr>
          <a:xfrm>
            <a:off x="1020000" y="1663700"/>
            <a:ext cx="10151999" cy="4212000"/>
          </a:xfrm>
          <a:prstGeom prst="rect">
            <a:avLst/>
          </a:prstGeom>
          <a:noFill/>
          <a:ln w="12700" cap="sq">
            <a:solidFill>
              <a:srgbClr val="D24726"/>
            </a:solidFill>
            <a:prstDash val="lgDash"/>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gn="ctr"/>
            <a:endParaRPr lang="nl-NL">
              <a:solidFill>
                <a:schemeClr val="tx1"/>
              </a:solidFill>
            </a:endParaRPr>
          </a:p>
        </p:txBody>
      </p:sp>
    </p:spTree>
    <p:extLst>
      <p:ext uri="{BB962C8B-B14F-4D97-AF65-F5344CB8AC3E}">
        <p14:creationId xmlns:p14="http://schemas.microsoft.com/office/powerpoint/2010/main" val="3432629269"/>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Lst>
  <p:hf hdr="0" ftr="0" dt="0"/>
  <p:txStyles>
    <p:titleStyle>
      <a:lvl1pPr algn="l" defTabSz="914400" rtl="0" eaLnBrk="1" latinLnBrk="0" hangingPunct="1">
        <a:lnSpc>
          <a:spcPct val="90000"/>
        </a:lnSpc>
        <a:spcBef>
          <a:spcPct val="0"/>
        </a:spcBef>
        <a:buNone/>
        <a:defRPr sz="3500" kern="1200">
          <a:solidFill>
            <a:srgbClr val="3440B6"/>
          </a:solidFill>
          <a:latin typeface="+mj-lt"/>
          <a:ea typeface="+mj-ea"/>
          <a:cs typeface="+mj-cs"/>
        </a:defRPr>
      </a:lvl1pPr>
    </p:titleStyle>
    <p:bodyStyle>
      <a:lvl1pPr marL="0" indent="0" algn="l" defTabSz="914400" rtl="0" eaLnBrk="1" latinLnBrk="0" hangingPunct="1">
        <a:lnSpc>
          <a:spcPct val="104000"/>
        </a:lnSpc>
        <a:spcBef>
          <a:spcPts val="0"/>
        </a:spcBef>
        <a:buClr>
          <a:srgbClr val="ED8C00"/>
        </a:buClr>
        <a:buFont typeface="Arial" panose="020B0604020202020204" pitchFamily="34" charset="0"/>
        <a:buNone/>
        <a:defRPr sz="2000" kern="1200">
          <a:solidFill>
            <a:schemeClr val="tx1"/>
          </a:solidFill>
          <a:latin typeface="+mn-lt"/>
          <a:ea typeface="+mn-ea"/>
          <a:cs typeface="+mn-cs"/>
        </a:defRPr>
      </a:lvl1pPr>
      <a:lvl2pPr marL="250825" indent="-250825" algn="l" defTabSz="914400" rtl="0" eaLnBrk="1" latinLnBrk="0" hangingPunct="1">
        <a:lnSpc>
          <a:spcPct val="104000"/>
        </a:lnSpc>
        <a:spcBef>
          <a:spcPts val="1900"/>
        </a:spcBef>
        <a:buClr>
          <a:srgbClr val="ED8C00"/>
        </a:buClr>
        <a:buFont typeface="Arial" panose="020B0604020202020204" pitchFamily="34" charset="0"/>
        <a:buChar char="•"/>
        <a:defRPr sz="2000" kern="1200">
          <a:solidFill>
            <a:schemeClr val="tx1"/>
          </a:solidFill>
          <a:latin typeface="+mn-lt"/>
          <a:ea typeface="+mn-ea"/>
          <a:cs typeface="+mn-cs"/>
        </a:defRPr>
      </a:lvl2pPr>
      <a:lvl3pPr marL="504000" indent="-252000" algn="l" defTabSz="914400" rtl="0" eaLnBrk="1" latinLnBrk="0" hangingPunct="1">
        <a:lnSpc>
          <a:spcPct val="104000"/>
        </a:lnSpc>
        <a:spcBef>
          <a:spcPts val="1900"/>
        </a:spcBef>
        <a:buClr>
          <a:srgbClr val="ED8C00"/>
        </a:buClr>
        <a:buFont typeface="Arial" panose="020B0604020202020204" pitchFamily="34" charset="0"/>
        <a:buChar char="•"/>
        <a:defRPr sz="2000" kern="1200">
          <a:solidFill>
            <a:schemeClr val="tx1"/>
          </a:solidFill>
          <a:latin typeface="+mn-lt"/>
          <a:ea typeface="+mn-ea"/>
          <a:cs typeface="+mn-cs"/>
        </a:defRPr>
      </a:lvl3pPr>
      <a:lvl4pPr marL="756000" indent="-252000" algn="l" defTabSz="914400" rtl="0" eaLnBrk="1" latinLnBrk="0" hangingPunct="1">
        <a:lnSpc>
          <a:spcPct val="104000"/>
        </a:lnSpc>
        <a:spcBef>
          <a:spcPts val="1900"/>
        </a:spcBef>
        <a:buClr>
          <a:srgbClr val="ED8C00"/>
        </a:buClr>
        <a:buFont typeface="Arial" panose="020B0604020202020204" pitchFamily="34" charset="0"/>
        <a:buChar char="•"/>
        <a:defRPr sz="2000" kern="1200">
          <a:solidFill>
            <a:schemeClr val="tx1"/>
          </a:solidFill>
          <a:latin typeface="+mn-lt"/>
          <a:ea typeface="+mn-ea"/>
          <a:cs typeface="+mn-cs"/>
        </a:defRPr>
      </a:lvl4pPr>
      <a:lvl5pPr marL="1008000" indent="-252000" algn="l" defTabSz="914400" rtl="0" eaLnBrk="1" latinLnBrk="0" hangingPunct="1">
        <a:lnSpc>
          <a:spcPct val="104000"/>
        </a:lnSpc>
        <a:spcBef>
          <a:spcPts val="1900"/>
        </a:spcBef>
        <a:buClr>
          <a:srgbClr val="ED8C00"/>
        </a:buClr>
        <a:buFont typeface="Arial" panose="020B0604020202020204" pitchFamily="34" charset="0"/>
        <a:buChar char="•"/>
        <a:defRPr sz="2000" kern="1200">
          <a:solidFill>
            <a:schemeClr val="tx1"/>
          </a:solidFill>
          <a:latin typeface="+mn-lt"/>
          <a:ea typeface="+mn-ea"/>
          <a:cs typeface="+mn-cs"/>
        </a:defRPr>
      </a:lvl5pPr>
      <a:lvl6pPr marL="1260000" indent="-252000" algn="l" defTabSz="914400" rtl="0" eaLnBrk="1" latinLnBrk="0" hangingPunct="1">
        <a:lnSpc>
          <a:spcPct val="104000"/>
        </a:lnSpc>
        <a:spcBef>
          <a:spcPts val="1900"/>
        </a:spcBef>
        <a:buClr>
          <a:srgbClr val="ED8C00"/>
        </a:buClr>
        <a:buFont typeface="Arial" panose="020B0604020202020204" pitchFamily="34" charset="0"/>
        <a:buChar char="•"/>
        <a:defRPr sz="2000" kern="1200">
          <a:solidFill>
            <a:schemeClr val="tx1"/>
          </a:solidFill>
          <a:latin typeface="+mn-lt"/>
          <a:ea typeface="+mn-ea"/>
          <a:cs typeface="+mn-cs"/>
        </a:defRPr>
      </a:lvl6pPr>
      <a:lvl7pPr marL="1512000" indent="-252000" algn="l" defTabSz="914400" rtl="0" eaLnBrk="1" latinLnBrk="0" hangingPunct="1">
        <a:lnSpc>
          <a:spcPct val="104000"/>
        </a:lnSpc>
        <a:spcBef>
          <a:spcPts val="1900"/>
        </a:spcBef>
        <a:buClr>
          <a:srgbClr val="ED8C00"/>
        </a:buClr>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microsoft.com/office/2018/10/relationships/comments" Target="../comments/modernComment_7FFFD879_C5DF03C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ndertitel 2">
            <a:extLst>
              <a:ext uri="{FF2B5EF4-FFF2-40B4-BE49-F238E27FC236}">
                <a16:creationId xmlns:a16="http://schemas.microsoft.com/office/drawing/2014/main" id="{E0A08134-5B9D-5943-F76D-42CF0252CD4C}"/>
              </a:ext>
            </a:extLst>
          </p:cNvPr>
          <p:cNvSpPr>
            <a:spLocks noGrp="1"/>
          </p:cNvSpPr>
          <p:nvPr>
            <p:ph type="subTitle" idx="1"/>
          </p:nvPr>
        </p:nvSpPr>
        <p:spPr>
          <a:xfrm>
            <a:off x="322394" y="2144058"/>
            <a:ext cx="9144000" cy="332399"/>
          </a:xfrm>
        </p:spPr>
        <p:txBody>
          <a:bodyPr/>
          <a:lstStyle/>
          <a:p>
            <a:r>
              <a:rPr lang="en-US" dirty="0"/>
              <a:t>Enterprise Data Management</a:t>
            </a:r>
          </a:p>
        </p:txBody>
      </p:sp>
      <p:sp>
        <p:nvSpPr>
          <p:cNvPr id="6" name="Tijdelijke aanduiding voor datum 5">
            <a:extLst>
              <a:ext uri="{FF2B5EF4-FFF2-40B4-BE49-F238E27FC236}">
                <a16:creationId xmlns:a16="http://schemas.microsoft.com/office/drawing/2014/main" id="{55F99968-5403-77FC-6CB0-7D95BCD5263B}"/>
              </a:ext>
            </a:extLst>
          </p:cNvPr>
          <p:cNvSpPr>
            <a:spLocks noGrp="1"/>
          </p:cNvSpPr>
          <p:nvPr>
            <p:ph type="dt" sz="half" idx="10"/>
          </p:nvPr>
        </p:nvSpPr>
        <p:spPr>
          <a:xfrm>
            <a:off x="322394" y="6343650"/>
            <a:ext cx="5376862" cy="1460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BE55F16-B426-425A-9FDA-C0721EF5240F}" type="datetime4">
              <a:rPr kumimoji="0" lang="en-US" sz="1100" b="0" i="0" u="none" strike="noStrike" kern="1200" cap="none" spc="0" normalizeH="0" baseline="0" noProof="0" smtClean="0">
                <a:ln>
                  <a:noFill/>
                </a:ln>
                <a:solidFill>
                  <a:srgbClr val="001A73"/>
                </a:solidFill>
                <a:effectLst/>
                <a:uLnTx/>
                <a:uFillTx/>
                <a:latin typeface="Arial"/>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February 16, 2024</a:t>
            </a:fld>
            <a:endParaRPr kumimoji="0" lang="en-US" sz="1100" b="0" i="0" u="none" strike="noStrike" kern="1200" cap="none" spc="0" normalizeH="0" baseline="0" noProof="0" dirty="0">
              <a:ln>
                <a:noFill/>
              </a:ln>
              <a:solidFill>
                <a:srgbClr val="001A73"/>
              </a:solidFill>
              <a:effectLst/>
              <a:uLnTx/>
              <a:uFillTx/>
              <a:latin typeface="Arial"/>
              <a:ea typeface="+mn-ea"/>
              <a:cs typeface="Segoe UI Light" panose="020B0502040204020203" pitchFamily="34" charset="0"/>
            </a:endParaRPr>
          </a:p>
        </p:txBody>
      </p:sp>
      <p:sp>
        <p:nvSpPr>
          <p:cNvPr id="10" name="Tijdelijke aanduiding voor dianummer 9">
            <a:extLst>
              <a:ext uri="{FF2B5EF4-FFF2-40B4-BE49-F238E27FC236}">
                <a16:creationId xmlns:a16="http://schemas.microsoft.com/office/drawing/2014/main" id="{0D7AA1F7-2F7D-45B2-6F05-6FA2C20D2541}"/>
              </a:ext>
            </a:extLst>
          </p:cNvPr>
          <p:cNvSpPr>
            <a:spLocks noGrp="1"/>
          </p:cNvSpPr>
          <p:nvPr>
            <p:ph type="sldNum" sz="quarter" idx="12"/>
          </p:nvPr>
        </p:nvSpPr>
        <p:spPr>
          <a:xfrm>
            <a:off x="322394" y="6975834"/>
            <a:ext cx="270000" cy="14475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E843DB9-9987-4157-AB9C-CEA8D7D910BB}" type="slidenum">
              <a:rPr kumimoji="0" lang="en-US" sz="1100" b="0" i="0" u="none" strike="noStrike" kern="1200" cap="none" spc="0" normalizeH="0" baseline="0" noProof="0" smtClean="0">
                <a:ln>
                  <a:noFill/>
                </a:ln>
                <a:solidFill>
                  <a:srgbClr val="001A73"/>
                </a:solidFill>
                <a:effectLst/>
                <a:uLnTx/>
                <a:uFillTx/>
                <a:latin typeface="Arial"/>
                <a:ea typeface="+mn-ea"/>
                <a:cs typeface="Segoe UI Light" panose="020B0502040204020203"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1100" b="0" i="0" u="none" strike="noStrike" kern="1200" cap="none" spc="0" normalizeH="0" baseline="0" noProof="0" dirty="0">
              <a:ln>
                <a:noFill/>
              </a:ln>
              <a:solidFill>
                <a:srgbClr val="001A73"/>
              </a:solidFill>
              <a:effectLst/>
              <a:uLnTx/>
              <a:uFillTx/>
              <a:latin typeface="Arial"/>
              <a:ea typeface="+mn-ea"/>
              <a:cs typeface="Segoe UI Light" panose="020B0502040204020203" pitchFamily="34" charset="0"/>
            </a:endParaRPr>
          </a:p>
        </p:txBody>
      </p:sp>
      <p:sp>
        <p:nvSpPr>
          <p:cNvPr id="9" name="Tijdelijke aanduiding voor tekst 8">
            <a:extLst>
              <a:ext uri="{FF2B5EF4-FFF2-40B4-BE49-F238E27FC236}">
                <a16:creationId xmlns:a16="http://schemas.microsoft.com/office/drawing/2014/main" id="{C41E3EBB-430B-904C-4DCE-303E6542B45F}"/>
              </a:ext>
            </a:extLst>
          </p:cNvPr>
          <p:cNvSpPr>
            <a:spLocks noGrp="1"/>
          </p:cNvSpPr>
          <p:nvPr>
            <p:ph type="body" sz="quarter" idx="13"/>
          </p:nvPr>
        </p:nvSpPr>
        <p:spPr>
          <a:xfrm>
            <a:off x="322394" y="375760"/>
            <a:ext cx="9144000" cy="1647951"/>
          </a:xfrm>
        </p:spPr>
        <p:txBody>
          <a:bodyPr/>
          <a:lstStyle/>
          <a:p>
            <a:r>
              <a:rPr lang="en-US" dirty="0"/>
              <a:t>Data Management Strategy</a:t>
            </a:r>
          </a:p>
        </p:txBody>
      </p:sp>
      <p:sp>
        <p:nvSpPr>
          <p:cNvPr id="2" name="Titel 1">
            <a:extLst>
              <a:ext uri="{FF2B5EF4-FFF2-40B4-BE49-F238E27FC236}">
                <a16:creationId xmlns:a16="http://schemas.microsoft.com/office/drawing/2014/main" id="{9DA5A9D3-5491-DA4B-0A6B-0182EE70DDAF}"/>
              </a:ext>
            </a:extLst>
          </p:cNvPr>
          <p:cNvSpPr>
            <a:spLocks noGrp="1"/>
          </p:cNvSpPr>
          <p:nvPr>
            <p:ph type="title"/>
          </p:nvPr>
        </p:nvSpPr>
        <p:spPr>
          <a:xfrm>
            <a:off x="0" y="-306447"/>
            <a:ext cx="1045300" cy="193899"/>
          </a:xfrm>
        </p:spPr>
        <p:txBody>
          <a:bodyPr/>
          <a:lstStyle/>
          <a:p>
            <a:r>
              <a:rPr lang="en-US" dirty="0" err="1"/>
              <a:t>Titeldia</a:t>
            </a:r>
            <a:endParaRPr lang="en-US" dirty="0"/>
          </a:p>
        </p:txBody>
      </p:sp>
    </p:spTree>
    <p:extLst>
      <p:ext uri="{BB962C8B-B14F-4D97-AF65-F5344CB8AC3E}">
        <p14:creationId xmlns:p14="http://schemas.microsoft.com/office/powerpoint/2010/main" val="118141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823726-65EF-A5CA-AA5D-F211B298DE4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062989D-34B5-B10D-CFA6-DD9AB260092D}"/>
              </a:ext>
            </a:extLst>
          </p:cNvPr>
          <p:cNvSpPr>
            <a:spLocks noGrp="1"/>
          </p:cNvSpPr>
          <p:nvPr>
            <p:ph type="title"/>
          </p:nvPr>
        </p:nvSpPr>
        <p:spPr>
          <a:xfrm>
            <a:off x="719999" y="360000"/>
            <a:ext cx="10753200" cy="443198"/>
          </a:xfrm>
        </p:spPr>
        <p:txBody>
          <a:bodyPr/>
          <a:lstStyle/>
          <a:p>
            <a:r>
              <a:rPr lang="en-US"/>
              <a:t>Capabilities template </a:t>
            </a:r>
            <a:endParaRPr lang="nl-NL"/>
          </a:p>
        </p:txBody>
      </p:sp>
      <p:sp>
        <p:nvSpPr>
          <p:cNvPr id="3" name="Tijdelijke aanduiding voor dianummer 2">
            <a:extLst>
              <a:ext uri="{FF2B5EF4-FFF2-40B4-BE49-F238E27FC236}">
                <a16:creationId xmlns:a16="http://schemas.microsoft.com/office/drawing/2014/main" id="{19E82B77-D8A1-6EBA-00D9-EC7855DD6643}"/>
              </a:ext>
            </a:extLst>
          </p:cNvPr>
          <p:cNvSpPr>
            <a:spLocks noGrp="1"/>
          </p:cNvSpPr>
          <p:nvPr>
            <p:ph type="sldNum" sz="quarter" idx="20"/>
          </p:nvPr>
        </p:nvSpPr>
        <p:spPr/>
        <p:txBody>
          <a:bodyPr/>
          <a:lstStyle/>
          <a:p>
            <a:fld id="{9E843DB9-9987-4157-AB9C-CEA8D7D910BB}" type="slidenum">
              <a:rPr lang="en-US" smtClean="0"/>
              <a:pPr/>
              <a:t>2</a:t>
            </a:fld>
            <a:endParaRPr lang="en-US" dirty="0"/>
          </a:p>
        </p:txBody>
      </p:sp>
      <p:sp>
        <p:nvSpPr>
          <p:cNvPr id="4" name="Tijdelijke aanduiding voor tekst 3">
            <a:extLst>
              <a:ext uri="{FF2B5EF4-FFF2-40B4-BE49-F238E27FC236}">
                <a16:creationId xmlns:a16="http://schemas.microsoft.com/office/drawing/2014/main" id="{D7913C27-08DC-02FF-73C5-C8BC8A000F63}"/>
              </a:ext>
            </a:extLst>
          </p:cNvPr>
          <p:cNvSpPr>
            <a:spLocks noGrp="1"/>
          </p:cNvSpPr>
          <p:nvPr>
            <p:ph type="body" sz="quarter" idx="21"/>
          </p:nvPr>
        </p:nvSpPr>
        <p:spPr>
          <a:xfrm>
            <a:off x="719139" y="1463040"/>
            <a:ext cx="4462461" cy="4369434"/>
          </a:xfrm>
        </p:spPr>
        <p:txBody>
          <a:bodyPr vert="horz" lIns="0" tIns="0" rIns="0" bIns="0" rtlCol="0" anchor="t">
            <a:noAutofit/>
          </a:bodyPr>
          <a:lstStyle/>
          <a:p>
            <a:pPr marL="0" indent="0">
              <a:buNone/>
            </a:pPr>
            <a:r>
              <a:rPr lang="en-US" sz="1100" b="1" dirty="0">
                <a:latin typeface="+mj-lt"/>
                <a:cs typeface="Arial"/>
              </a:rPr>
              <a:t>Definition</a:t>
            </a:r>
          </a:p>
          <a:p>
            <a:pPr marL="171450" indent="-171450">
              <a:buFont typeface="Arial" panose="020B0604020202020204" pitchFamily="34" charset="0"/>
              <a:buChar char="•"/>
            </a:pPr>
            <a:r>
              <a:rPr lang="en-US" sz="1100" b="0" i="1" dirty="0">
                <a:effectLst/>
                <a:latin typeface="+mj-lt"/>
              </a:rPr>
              <a:t>A brief description of the capability, its purpose, and how it fits into the overall data strategy (4 principles)</a:t>
            </a:r>
          </a:p>
          <a:p>
            <a:pPr marL="171450" indent="-171450">
              <a:buFont typeface="Arial" panose="020B0604020202020204" pitchFamily="34" charset="0"/>
              <a:buChar char="•"/>
            </a:pPr>
            <a:endParaRPr lang="en-US" sz="1100" b="1" dirty="0">
              <a:latin typeface="+mj-lt"/>
              <a:cs typeface="Arial"/>
            </a:endParaRPr>
          </a:p>
          <a:p>
            <a:pPr marL="0" indent="0">
              <a:buNone/>
            </a:pPr>
            <a:r>
              <a:rPr lang="en-US" sz="1100" b="1" dirty="0">
                <a:latin typeface="+mj-lt"/>
                <a:cs typeface="Arial"/>
              </a:rPr>
              <a:t>Activities</a:t>
            </a:r>
          </a:p>
          <a:p>
            <a:pPr marL="171450" indent="-171450">
              <a:buFont typeface="Arial" panose="020B0604020202020204" pitchFamily="34" charset="0"/>
              <a:buChar char="•"/>
            </a:pPr>
            <a:r>
              <a:rPr lang="en-US" sz="1100" b="0" i="1" dirty="0">
                <a:effectLst/>
                <a:latin typeface="+mj-lt"/>
              </a:rPr>
              <a:t>List the main </a:t>
            </a:r>
            <a:r>
              <a:rPr lang="en-US" sz="1100" i="1" dirty="0">
                <a:latin typeface="+mj-lt"/>
              </a:rPr>
              <a:t>activities (</a:t>
            </a:r>
            <a:r>
              <a:rPr lang="en-US" sz="1100" i="1" dirty="0" err="1">
                <a:latin typeface="+mj-lt"/>
              </a:rPr>
              <a:t>werkzaamheden</a:t>
            </a:r>
            <a:r>
              <a:rPr lang="en-US" sz="1100" i="1" dirty="0">
                <a:latin typeface="+mj-lt"/>
              </a:rPr>
              <a:t>) for</a:t>
            </a:r>
            <a:r>
              <a:rPr lang="en-US" sz="1100" b="0" i="1" dirty="0">
                <a:effectLst/>
                <a:latin typeface="+mj-lt"/>
              </a:rPr>
              <a:t> this capability</a:t>
            </a:r>
            <a:endParaRPr lang="en-US" sz="1100" b="1" dirty="0">
              <a:latin typeface="+mj-lt"/>
              <a:cs typeface="Arial"/>
            </a:endParaRPr>
          </a:p>
          <a:p>
            <a:pPr marL="0" indent="0">
              <a:buNone/>
            </a:pPr>
            <a:endParaRPr lang="en-US" sz="1100" b="1" kern="100" dirty="0">
              <a:effectLst/>
              <a:latin typeface="+mj-lt"/>
              <a:ea typeface="Aptos" panose="020B0004020202020204" pitchFamily="34" charset="0"/>
              <a:cs typeface="Segoe UI"/>
            </a:endParaRPr>
          </a:p>
          <a:p>
            <a:pPr marL="0" indent="0">
              <a:buNone/>
            </a:pPr>
            <a:r>
              <a:rPr lang="en-US" sz="1100" b="1" kern="100" dirty="0">
                <a:effectLst/>
                <a:latin typeface="+mj-lt"/>
                <a:ea typeface="Aptos" panose="020B0004020202020204" pitchFamily="34" charset="0"/>
                <a:cs typeface="Segoe UI"/>
              </a:rPr>
              <a:t>Standards &amp; guidelines</a:t>
            </a:r>
            <a:endParaRPr lang="en-US" sz="1100" kern="100" dirty="0">
              <a:effectLst/>
              <a:latin typeface="+mj-lt"/>
              <a:ea typeface="Aptos" panose="020B0004020202020204" pitchFamily="34" charset="0"/>
              <a:cs typeface="Segoe UI"/>
            </a:endParaRPr>
          </a:p>
          <a:p>
            <a:pPr marL="171450" indent="-171450">
              <a:buFont typeface="Arial,Sans-Serif"/>
              <a:buChar char="•"/>
            </a:pPr>
            <a:r>
              <a:rPr lang="en-US" sz="1100" i="1" kern="100" dirty="0">
                <a:latin typeface="+mj-lt"/>
                <a:ea typeface="Aptos" panose="020B0004020202020204" pitchFamily="34" charset="0"/>
                <a:cs typeface="Arial"/>
              </a:rPr>
              <a:t>Define what is centrally managed (shared standard) and what is up to the domain</a:t>
            </a:r>
            <a:endParaRPr lang="en-US" sz="1100" kern="100" dirty="0">
              <a:effectLst/>
              <a:latin typeface="+mj-lt"/>
              <a:ea typeface="Aptos" panose="020B0004020202020204" pitchFamily="34" charset="0"/>
              <a:cs typeface="Arial"/>
            </a:endParaRPr>
          </a:p>
          <a:p>
            <a:pPr marL="0" indent="0">
              <a:buNone/>
            </a:pPr>
            <a:endParaRPr lang="en-US" sz="1100" i="1" dirty="0">
              <a:latin typeface="+mj-lt"/>
            </a:endParaRPr>
          </a:p>
          <a:p>
            <a:pPr marL="0" indent="0">
              <a:buNone/>
            </a:pPr>
            <a:r>
              <a:rPr lang="en-US" sz="1100" b="1" dirty="0">
                <a:latin typeface="+mj-lt"/>
              </a:rPr>
              <a:t>Business relevance /drivers</a:t>
            </a:r>
            <a:endParaRPr lang="en-US" sz="1100" dirty="0">
              <a:latin typeface="+mj-lt"/>
            </a:endParaRPr>
          </a:p>
          <a:p>
            <a:pPr marL="171450" indent="-171450">
              <a:buFont typeface="Arial,Sans-Serif"/>
              <a:buChar char="•"/>
            </a:pPr>
            <a:r>
              <a:rPr lang="en-US" sz="1100" i="1" kern="100" dirty="0">
                <a:latin typeface="+mj-lt"/>
                <a:cs typeface="Arial"/>
              </a:rPr>
              <a:t>Answer the question why the execution of these activities is relevant. What’s the added value for the business?</a:t>
            </a:r>
          </a:p>
          <a:p>
            <a:endParaRPr lang="en-US" sz="1100" b="1" dirty="0">
              <a:latin typeface="+mj-lt"/>
            </a:endParaRPr>
          </a:p>
        </p:txBody>
      </p:sp>
      <p:sp>
        <p:nvSpPr>
          <p:cNvPr id="5" name="Tijdelijke aanduiding voor tekst 4">
            <a:extLst>
              <a:ext uri="{FF2B5EF4-FFF2-40B4-BE49-F238E27FC236}">
                <a16:creationId xmlns:a16="http://schemas.microsoft.com/office/drawing/2014/main" id="{E21783BB-776B-DE09-0F30-71B103160F13}"/>
              </a:ext>
            </a:extLst>
          </p:cNvPr>
          <p:cNvSpPr>
            <a:spLocks noGrp="1"/>
          </p:cNvSpPr>
          <p:nvPr>
            <p:ph type="body" sz="quarter" idx="25"/>
          </p:nvPr>
        </p:nvSpPr>
        <p:spPr/>
        <p:txBody>
          <a:bodyPr/>
          <a:lstStyle/>
          <a:p>
            <a:r>
              <a:rPr lang="en-US"/>
              <a:t>One pager for each data management capability</a:t>
            </a:r>
          </a:p>
        </p:txBody>
      </p:sp>
      <p:sp>
        <p:nvSpPr>
          <p:cNvPr id="6" name="Tijdelijke aanduiding voor tekst 3">
            <a:extLst>
              <a:ext uri="{FF2B5EF4-FFF2-40B4-BE49-F238E27FC236}">
                <a16:creationId xmlns:a16="http://schemas.microsoft.com/office/drawing/2014/main" id="{4F7CEAFE-0D3D-D63C-2046-2F81E3A7BFC0}"/>
              </a:ext>
            </a:extLst>
          </p:cNvPr>
          <p:cNvSpPr txBox="1">
            <a:spLocks/>
          </p:cNvSpPr>
          <p:nvPr/>
        </p:nvSpPr>
        <p:spPr>
          <a:xfrm>
            <a:off x="6174647" y="1460385"/>
            <a:ext cx="5836480" cy="3505898"/>
          </a:xfrm>
          <a:prstGeom prst="rect">
            <a:avLst/>
          </a:prstGeom>
        </p:spPr>
        <p:txBody>
          <a:bodyPr vert="horz" lIns="0" tIns="0" rIns="0" bIns="0" rtlCol="0" anchor="t">
            <a:noAutofit/>
          </a:bodyPr>
          <a:lstStyle>
            <a:lvl1pPr marL="0" indent="0" algn="l" defTabSz="914400" rtl="0" eaLnBrk="1" latinLnBrk="0" hangingPunct="1">
              <a:lnSpc>
                <a:spcPts val="1400"/>
              </a:lnSpc>
              <a:spcBef>
                <a:spcPts val="500"/>
              </a:spcBef>
              <a:spcAft>
                <a:spcPts val="500"/>
              </a:spcAft>
              <a:buClr>
                <a:schemeClr val="accent2"/>
              </a:buClr>
              <a:buFontTx/>
              <a:buNone/>
              <a:defRPr sz="1400" kern="1200">
                <a:solidFill>
                  <a:schemeClr val="accent2"/>
                </a:solidFill>
                <a:latin typeface="+mn-lt"/>
                <a:ea typeface="+mn-ea"/>
                <a:cs typeface="+mn-cs"/>
              </a:defRPr>
            </a:lvl1pPr>
            <a:lvl2pPr marL="539750" indent="-273050" algn="l" defTabSz="914400" rtl="0" eaLnBrk="1" latinLnBrk="0" hangingPunct="1">
              <a:lnSpc>
                <a:spcPts val="1400"/>
              </a:lnSpc>
              <a:spcBef>
                <a:spcPts val="500"/>
              </a:spcBef>
              <a:spcAft>
                <a:spcPts val="500"/>
              </a:spcAft>
              <a:buClr>
                <a:schemeClr val="accent2"/>
              </a:buClr>
              <a:buFont typeface="Arial" panose="020B0604020202020204" pitchFamily="34" charset="0"/>
              <a:buChar char="•"/>
              <a:tabLst/>
              <a:defRPr sz="1400" kern="1200">
                <a:solidFill>
                  <a:schemeClr val="accent2"/>
                </a:solidFill>
                <a:latin typeface="+mn-lt"/>
                <a:ea typeface="+mn-ea"/>
                <a:cs typeface="+mn-cs"/>
              </a:defRPr>
            </a:lvl2pPr>
            <a:lvl3pPr marL="806450" indent="-266700" algn="l" defTabSz="1346200" rtl="0" eaLnBrk="1" latinLnBrk="0" hangingPunct="1">
              <a:lnSpc>
                <a:spcPts val="1400"/>
              </a:lnSpc>
              <a:spcBef>
                <a:spcPts val="500"/>
              </a:spcBef>
              <a:spcAft>
                <a:spcPts val="500"/>
              </a:spcAft>
              <a:buClr>
                <a:schemeClr val="accent2"/>
              </a:buClr>
              <a:buFont typeface="Segoe UI Light" panose="020B0502040204020203" pitchFamily="34" charset="0"/>
              <a:buChar char="–"/>
              <a:tabLst/>
              <a:defRPr sz="1200" kern="1200">
                <a:solidFill>
                  <a:schemeClr val="accent2"/>
                </a:solidFill>
                <a:latin typeface="+mn-lt"/>
                <a:ea typeface="+mn-ea"/>
                <a:cs typeface="+mn-cs"/>
              </a:defRPr>
            </a:lvl3pPr>
            <a:lvl4pPr marL="0" indent="0" algn="l" defTabSz="914400" rtl="0" eaLnBrk="1" latinLnBrk="0" hangingPunct="1">
              <a:lnSpc>
                <a:spcPts val="1400"/>
              </a:lnSpc>
              <a:spcBef>
                <a:spcPts val="500"/>
              </a:spcBef>
              <a:spcAft>
                <a:spcPts val="500"/>
              </a:spcAft>
              <a:buFont typeface="Arial" panose="020B0604020202020204" pitchFamily="34" charset="0"/>
              <a:buNone/>
              <a:defRPr sz="1400" kern="1200">
                <a:solidFill>
                  <a:schemeClr val="accent2"/>
                </a:solidFill>
                <a:latin typeface="+mn-lt"/>
                <a:ea typeface="+mn-ea"/>
                <a:cs typeface="+mn-cs"/>
              </a:defRPr>
            </a:lvl4pPr>
            <a:lvl5pPr marL="0" indent="0" algn="l" defTabSz="914400" rtl="0" eaLnBrk="1" latinLnBrk="0" hangingPunct="1">
              <a:lnSpc>
                <a:spcPts val="1400"/>
              </a:lnSpc>
              <a:spcBef>
                <a:spcPts val="500"/>
              </a:spcBef>
              <a:spcAft>
                <a:spcPts val="500"/>
              </a:spcAft>
              <a:buFont typeface="Arial" panose="020B0604020202020204" pitchFamily="34" charset="0"/>
              <a:buNone/>
              <a:defRPr sz="1400" b="1" kern="1200">
                <a:solidFill>
                  <a:schemeClr val="accent1"/>
                </a:solidFill>
                <a:latin typeface="+mj-lt"/>
                <a:ea typeface="+mn-ea"/>
                <a:cs typeface="+mn-cs"/>
              </a:defRPr>
            </a:lvl5pPr>
            <a:lvl6pPr marL="0" indent="0" algn="l" defTabSz="914400" rtl="0" eaLnBrk="1" latinLnBrk="0" hangingPunct="1">
              <a:lnSpc>
                <a:spcPts val="1400"/>
              </a:lnSpc>
              <a:spcBef>
                <a:spcPts val="500"/>
              </a:spcBef>
              <a:spcAft>
                <a:spcPts val="500"/>
              </a:spcAft>
              <a:buClr>
                <a:schemeClr val="accent1"/>
              </a:buClr>
              <a:buFont typeface="Arial" panose="020B0604020202020204" pitchFamily="34" charset="0"/>
              <a:buNone/>
              <a:defRPr sz="1600" b="1" kern="1200" cap="none" baseline="0">
                <a:solidFill>
                  <a:schemeClr val="accent2"/>
                </a:solidFill>
                <a:latin typeface="+mj-lt"/>
                <a:ea typeface="+mn-ea"/>
                <a:cs typeface="+mn-cs"/>
              </a:defRPr>
            </a:lvl6pPr>
            <a:lvl7pPr marL="268288" indent="-268288" algn="l" defTabSz="914400" rtl="0" eaLnBrk="1" latinLnBrk="0" hangingPunct="1">
              <a:lnSpc>
                <a:spcPts val="1400"/>
              </a:lnSpc>
              <a:spcBef>
                <a:spcPts val="500"/>
              </a:spcBef>
              <a:spcAft>
                <a:spcPts val="500"/>
              </a:spcAft>
              <a:buClr>
                <a:schemeClr val="accent2"/>
              </a:buClr>
              <a:buFont typeface="+mj-lt"/>
              <a:buAutoNum type="arabicPeriod"/>
              <a:tabLst/>
              <a:defRPr sz="1400" kern="1200">
                <a:solidFill>
                  <a:schemeClr val="accent2"/>
                </a:solidFill>
                <a:latin typeface="+mn-lt"/>
                <a:ea typeface="+mn-ea"/>
                <a:cs typeface="+mn-cs"/>
              </a:defRPr>
            </a:lvl7pPr>
            <a:lvl8pPr marL="536575" indent="-268288" algn="l" defTabSz="914400" rtl="0" eaLnBrk="1" latinLnBrk="0" hangingPunct="1">
              <a:lnSpc>
                <a:spcPts val="1400"/>
              </a:lnSpc>
              <a:spcBef>
                <a:spcPts val="500"/>
              </a:spcBef>
              <a:spcAft>
                <a:spcPts val="500"/>
              </a:spcAft>
              <a:buClr>
                <a:schemeClr val="accent2"/>
              </a:buClr>
              <a:buFont typeface="+mj-lt"/>
              <a:buAutoNum type="alphaLcPeriod"/>
              <a:defRPr sz="1200" kern="1200">
                <a:solidFill>
                  <a:schemeClr val="accent2"/>
                </a:solidFill>
                <a:latin typeface="+mn-lt"/>
                <a:ea typeface="+mn-ea"/>
                <a:cs typeface="+mn-cs"/>
              </a:defRPr>
            </a:lvl8pPr>
            <a:lvl9pPr marL="0" indent="0" algn="l" defTabSz="914400" rtl="0" eaLnBrk="1" latinLnBrk="0" hangingPunct="1">
              <a:lnSpc>
                <a:spcPts val="1400"/>
              </a:lnSpc>
              <a:spcBef>
                <a:spcPts val="500"/>
              </a:spcBef>
              <a:spcAft>
                <a:spcPts val="500"/>
              </a:spcAft>
              <a:buClr>
                <a:schemeClr val="accent1"/>
              </a:buClr>
              <a:buFont typeface="Arial" panose="020B0604020202020204" pitchFamily="34" charset="0"/>
              <a:buNone/>
              <a:defRPr sz="1200" i="1" kern="1200">
                <a:solidFill>
                  <a:schemeClr val="tx2"/>
                </a:solidFill>
                <a:latin typeface="+mn-lt"/>
                <a:ea typeface="+mn-ea"/>
                <a:cs typeface="+mn-cs"/>
              </a:defRPr>
            </a:lvl9pPr>
          </a:lstStyle>
          <a:p>
            <a:r>
              <a:rPr lang="en-US" sz="1100" b="1" kern="100" dirty="0">
                <a:effectLst/>
                <a:latin typeface="+mj-lt"/>
                <a:ea typeface="Aptos" panose="020B0004020202020204" pitchFamily="34" charset="0"/>
                <a:cs typeface="Times New Roman"/>
              </a:rPr>
              <a:t>Tooling</a:t>
            </a:r>
          </a:p>
          <a:p>
            <a:pPr marL="171450" indent="-171450">
              <a:buFont typeface="Arial" panose="020B0604020202020204" pitchFamily="34" charset="0"/>
              <a:buChar char="•"/>
            </a:pPr>
            <a:r>
              <a:rPr lang="en-US" sz="1100" i="1" dirty="0">
                <a:latin typeface="+mj-lt"/>
              </a:rPr>
              <a:t>Mention</a:t>
            </a:r>
            <a:r>
              <a:rPr lang="en-US" sz="1100" b="0" i="1" dirty="0">
                <a:effectLst/>
                <a:latin typeface="+mj-lt"/>
              </a:rPr>
              <a:t> any specific tools or technologies that support this capability.</a:t>
            </a:r>
          </a:p>
          <a:p>
            <a:endParaRPr lang="en-US" sz="1100" b="0" i="1" dirty="0">
              <a:effectLst/>
              <a:latin typeface="+mj-lt"/>
              <a:cs typeface="Arial"/>
            </a:endParaRPr>
          </a:p>
          <a:p>
            <a:pPr>
              <a:buFont typeface="Arial" panose="020B0604020202020204" pitchFamily="34" charset="0"/>
            </a:pPr>
            <a:r>
              <a:rPr lang="en-US" sz="1100" b="1" dirty="0">
                <a:latin typeface="+mj-lt"/>
                <a:cs typeface="Arial"/>
              </a:rPr>
              <a:t>Organization</a:t>
            </a:r>
            <a:endParaRPr lang="en-US" sz="1100" b="1" i="1" dirty="0">
              <a:latin typeface="+mj-lt"/>
              <a:cs typeface="Arial"/>
            </a:endParaRPr>
          </a:p>
          <a:p>
            <a:pPr marL="171450" indent="-171450">
              <a:buFont typeface="Arial" panose="020B0604020202020204" pitchFamily="34" charset="0"/>
              <a:buChar char="•"/>
            </a:pPr>
            <a:r>
              <a:rPr lang="en-US" sz="1100" i="1" dirty="0">
                <a:latin typeface="+mj-lt"/>
                <a:cs typeface="Arial"/>
              </a:rPr>
              <a:t>Centralized or federated?</a:t>
            </a:r>
            <a:endParaRPr lang="en-US" sz="1100" b="1" dirty="0">
              <a:latin typeface="+mj-lt"/>
              <a:cs typeface="Arial"/>
            </a:endParaRPr>
          </a:p>
          <a:p>
            <a:pPr marL="171450" indent="-171450">
              <a:buFont typeface="Arial" panose="020B0604020202020204" pitchFamily="34" charset="0"/>
              <a:buChar char="•"/>
            </a:pPr>
            <a:r>
              <a:rPr lang="en-US" sz="1100" i="1" dirty="0">
                <a:latin typeface="+mj-lt"/>
                <a:cs typeface="Arial"/>
              </a:rPr>
              <a:t>How will this capability be executed in the organization?</a:t>
            </a:r>
          </a:p>
          <a:p>
            <a:endParaRPr lang="en-US" sz="1100" i="1" dirty="0">
              <a:latin typeface="+mj-lt"/>
              <a:cs typeface="Arial"/>
            </a:endParaRPr>
          </a:p>
          <a:p>
            <a:r>
              <a:rPr lang="en-US" sz="1100" b="1" dirty="0">
                <a:latin typeface="+mj-lt"/>
                <a:cs typeface="Segoe UI"/>
              </a:rPr>
              <a:t>Roles and responsibilities</a:t>
            </a:r>
            <a:endParaRPr lang="en-US" sz="1100" dirty="0">
              <a:latin typeface="+mj-lt"/>
              <a:cs typeface="Segoe UI"/>
            </a:endParaRPr>
          </a:p>
          <a:p>
            <a:pPr marL="171450" indent="-171450">
              <a:buFont typeface="Arial" panose="020B0604020202020204" pitchFamily="34" charset="0"/>
              <a:buChar char="•"/>
            </a:pPr>
            <a:r>
              <a:rPr lang="en-US" sz="1100" i="1" dirty="0">
                <a:latin typeface="+mj-lt"/>
                <a:cs typeface="Arial"/>
              </a:rPr>
              <a:t>Define who owns and is responsible for this capability(or activities of the capability) within the business domains, and central team</a:t>
            </a:r>
            <a:endParaRPr lang="en-US" sz="1100" dirty="0">
              <a:latin typeface="+mj-lt"/>
              <a:cs typeface="Arial"/>
            </a:endParaRPr>
          </a:p>
          <a:p>
            <a:pPr marL="171450" indent="-171450">
              <a:buFont typeface="Arial" panose="020B0604020202020204" pitchFamily="34" charset="0"/>
              <a:buChar char="•"/>
            </a:pPr>
            <a:r>
              <a:rPr lang="en-US" sz="1100" i="1" dirty="0">
                <a:latin typeface="+mj-lt"/>
                <a:cs typeface="Arial"/>
              </a:rPr>
              <a:t>Describe how collaboration is facilitated within this capability.</a:t>
            </a:r>
            <a:endParaRPr lang="en-US" sz="1100" dirty="0">
              <a:latin typeface="+mj-lt"/>
              <a:cs typeface="Arial"/>
            </a:endParaRPr>
          </a:p>
          <a:p>
            <a:endParaRPr lang="en-US" sz="1100" b="1" i="1" dirty="0">
              <a:latin typeface="+mj-lt"/>
              <a:ea typeface="Aptos" panose="020B0004020202020204" pitchFamily="34" charset="0"/>
              <a:cs typeface="Times New Roman" panose="02020603050405020304" pitchFamily="18" charset="0"/>
            </a:endParaRPr>
          </a:p>
          <a:p>
            <a:pPr lvl="0"/>
            <a:r>
              <a:rPr lang="en-US" sz="1100" b="1" kern="100" dirty="0">
                <a:effectLst/>
                <a:latin typeface="+mj-lt"/>
                <a:ea typeface="Aptos" panose="020B0004020202020204" pitchFamily="34" charset="0"/>
                <a:cs typeface="Times New Roman"/>
              </a:rPr>
              <a:t>Challenges, Solutions and roadmap to the future</a:t>
            </a:r>
          </a:p>
          <a:p>
            <a:pPr marL="171450" indent="-171450">
              <a:buFont typeface="Arial" panose="020B0604020202020204" pitchFamily="34" charset="0"/>
              <a:buChar char="•"/>
            </a:pPr>
            <a:r>
              <a:rPr lang="en-US" sz="1100" b="0" i="1" dirty="0">
                <a:effectLst/>
                <a:latin typeface="+mj-lt"/>
              </a:rPr>
              <a:t>Outline any known challenges and how they are addressed or mitigated.</a:t>
            </a:r>
          </a:p>
          <a:p>
            <a:pPr marL="171450" indent="-171450">
              <a:buFont typeface="Arial" panose="020B0604020202020204" pitchFamily="34" charset="0"/>
              <a:buChar char="•"/>
            </a:pPr>
            <a:r>
              <a:rPr lang="en-US" sz="1100" b="0" i="1" dirty="0">
                <a:effectLst/>
                <a:latin typeface="+mj-lt"/>
              </a:rPr>
              <a:t>Briefly describe the expected evolution of this capability over the next 5 years.</a:t>
            </a:r>
            <a:endParaRPr lang="en-US" sz="1100" b="0" i="0" dirty="0">
              <a:effectLst/>
              <a:latin typeface="+mj-lt"/>
            </a:endParaRPr>
          </a:p>
          <a:p>
            <a:pPr lvl="0">
              <a:buFont typeface="Arial" panose="020B0604020202020204" pitchFamily="34" charset="0"/>
            </a:pPr>
            <a:endParaRPr lang="en-US" sz="1100" i="1" dirty="0">
              <a:effectLst/>
              <a:latin typeface="+mj-lt"/>
              <a:ea typeface="Aptos" panose="020B0004020202020204" pitchFamily="34" charset="0"/>
              <a:cs typeface="Times New Roman" panose="02020603050405020304" pitchFamily="18" charset="0"/>
            </a:endParaRPr>
          </a:p>
          <a:p>
            <a:endParaRPr lang="en-US" sz="1100" b="1" kern="100" dirty="0">
              <a:latin typeface="+mj-lt"/>
              <a:ea typeface="Aptos" panose="020B0004020202020204" pitchFamily="34" charset="0"/>
              <a:cs typeface="Times New Roman" panose="02020603050405020304" pitchFamily="18" charset="0"/>
            </a:endParaRPr>
          </a:p>
          <a:p>
            <a:endParaRPr lang="en-US" sz="1100" kern="100" dirty="0">
              <a:latin typeface="+mj-lt"/>
              <a:ea typeface="Aptos" panose="020B0004020202020204" pitchFamily="34" charset="0"/>
              <a:cs typeface="Times New Roman" panose="02020603050405020304" pitchFamily="18" charset="0"/>
            </a:endParaRPr>
          </a:p>
        </p:txBody>
      </p:sp>
      <p:sp>
        <p:nvSpPr>
          <p:cNvPr id="7" name="Tekstballon: rechthoek met afgeronde hoeken 6">
            <a:extLst>
              <a:ext uri="{FF2B5EF4-FFF2-40B4-BE49-F238E27FC236}">
                <a16:creationId xmlns:a16="http://schemas.microsoft.com/office/drawing/2014/main" id="{55589C9C-0B9F-F014-A031-977622F978A9}"/>
              </a:ext>
            </a:extLst>
          </p:cNvPr>
          <p:cNvSpPr/>
          <p:nvPr/>
        </p:nvSpPr>
        <p:spPr>
          <a:xfrm>
            <a:off x="10178602" y="224930"/>
            <a:ext cx="1697864" cy="891690"/>
          </a:xfrm>
          <a:prstGeom prst="wedgeRoundRectCallou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r>
              <a:rPr lang="en-US" sz="1000" dirty="0">
                <a:cs typeface="Arial"/>
              </a:rPr>
              <a:t>Wat is de </a:t>
            </a:r>
            <a:r>
              <a:rPr lang="en-US" sz="1000" dirty="0" err="1">
                <a:cs typeface="Arial"/>
              </a:rPr>
              <a:t>huidige</a:t>
            </a:r>
            <a:r>
              <a:rPr lang="en-US" sz="1000" dirty="0">
                <a:cs typeface="Arial"/>
              </a:rPr>
              <a:t> </a:t>
            </a:r>
            <a:r>
              <a:rPr lang="en-US" sz="1000" dirty="0" err="1">
                <a:cs typeface="Arial"/>
              </a:rPr>
              <a:t>situatie</a:t>
            </a:r>
            <a:r>
              <a:rPr lang="en-US" sz="1000" dirty="0">
                <a:cs typeface="Arial"/>
              </a:rPr>
              <a:t>? Wat </a:t>
            </a:r>
            <a:r>
              <a:rPr lang="en-US" sz="1000" dirty="0" err="1">
                <a:cs typeface="Arial"/>
              </a:rPr>
              <a:t>hebben</a:t>
            </a:r>
            <a:r>
              <a:rPr lang="en-US" sz="1000" dirty="0">
                <a:cs typeface="Arial"/>
              </a:rPr>
              <a:t>/</a:t>
            </a:r>
            <a:r>
              <a:rPr lang="en-US" sz="1000" dirty="0" err="1">
                <a:cs typeface="Arial"/>
              </a:rPr>
              <a:t>doen</a:t>
            </a:r>
            <a:r>
              <a:rPr lang="en-US" sz="1000" dirty="0">
                <a:cs typeface="Arial"/>
              </a:rPr>
              <a:t> we </a:t>
            </a:r>
            <a:r>
              <a:rPr lang="en-US" sz="1000" dirty="0" err="1">
                <a:cs typeface="Arial"/>
              </a:rPr>
              <a:t>wel</a:t>
            </a:r>
            <a:r>
              <a:rPr lang="en-US" sz="1000" dirty="0">
                <a:cs typeface="Arial"/>
              </a:rPr>
              <a:t> en wat </a:t>
            </a:r>
            <a:r>
              <a:rPr lang="en-US" sz="1000" dirty="0" err="1">
                <a:cs typeface="Arial"/>
              </a:rPr>
              <a:t>nog</a:t>
            </a:r>
            <a:r>
              <a:rPr lang="en-US" sz="1000" dirty="0">
                <a:cs typeface="Arial"/>
              </a:rPr>
              <a:t> </a:t>
            </a:r>
            <a:r>
              <a:rPr lang="en-US" sz="1000" dirty="0" err="1">
                <a:cs typeface="Arial"/>
              </a:rPr>
              <a:t>niet</a:t>
            </a:r>
            <a:r>
              <a:rPr lang="en-US" sz="1000" dirty="0">
                <a:cs typeface="Arial"/>
              </a:rPr>
              <a:t>?</a:t>
            </a:r>
          </a:p>
        </p:txBody>
      </p:sp>
    </p:spTree>
    <p:extLst>
      <p:ext uri="{BB962C8B-B14F-4D97-AF65-F5344CB8AC3E}">
        <p14:creationId xmlns:p14="http://schemas.microsoft.com/office/powerpoint/2010/main" val="2029873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763802-7E2A-1D4B-6AF8-AE822500213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F2AD14B-BE47-1DA3-CD65-332B092A286A}"/>
              </a:ext>
            </a:extLst>
          </p:cNvPr>
          <p:cNvSpPr>
            <a:spLocks noGrp="1"/>
          </p:cNvSpPr>
          <p:nvPr>
            <p:ph type="title"/>
          </p:nvPr>
        </p:nvSpPr>
        <p:spPr>
          <a:xfrm>
            <a:off x="719999" y="360000"/>
            <a:ext cx="10753200" cy="443198"/>
          </a:xfrm>
        </p:spPr>
        <p:txBody>
          <a:bodyPr/>
          <a:lstStyle/>
          <a:p>
            <a:r>
              <a:rPr lang="en-US" dirty="0"/>
              <a:t>Capability overview: Master Data</a:t>
            </a:r>
            <a:endParaRPr lang="nl-NL" dirty="0"/>
          </a:p>
        </p:txBody>
      </p:sp>
      <p:sp>
        <p:nvSpPr>
          <p:cNvPr id="3" name="Tijdelijke aanduiding voor dianummer 2">
            <a:extLst>
              <a:ext uri="{FF2B5EF4-FFF2-40B4-BE49-F238E27FC236}">
                <a16:creationId xmlns:a16="http://schemas.microsoft.com/office/drawing/2014/main" id="{40E1DA60-B4F1-71CC-E5C3-69BDCF403FE9}"/>
              </a:ext>
            </a:extLst>
          </p:cNvPr>
          <p:cNvSpPr>
            <a:spLocks noGrp="1"/>
          </p:cNvSpPr>
          <p:nvPr>
            <p:ph type="sldNum" sz="quarter" idx="20"/>
          </p:nvPr>
        </p:nvSpPr>
        <p:spPr/>
        <p:txBody>
          <a:bodyPr/>
          <a:lstStyle/>
          <a:p>
            <a:fld id="{9E843DB9-9987-4157-AB9C-CEA8D7D910BB}" type="slidenum">
              <a:rPr lang="en-US" smtClean="0"/>
              <a:pPr/>
              <a:t>3</a:t>
            </a:fld>
            <a:endParaRPr lang="en-US" dirty="0"/>
          </a:p>
        </p:txBody>
      </p:sp>
      <p:sp>
        <p:nvSpPr>
          <p:cNvPr id="4" name="Tijdelijke aanduiding voor tekst 3">
            <a:extLst>
              <a:ext uri="{FF2B5EF4-FFF2-40B4-BE49-F238E27FC236}">
                <a16:creationId xmlns:a16="http://schemas.microsoft.com/office/drawing/2014/main" id="{CB5CCB41-D4FA-7A40-42DA-1F5990ECD6A9}"/>
              </a:ext>
            </a:extLst>
          </p:cNvPr>
          <p:cNvSpPr>
            <a:spLocks noGrp="1"/>
          </p:cNvSpPr>
          <p:nvPr>
            <p:ph type="body" sz="quarter" idx="21"/>
          </p:nvPr>
        </p:nvSpPr>
        <p:spPr>
          <a:xfrm>
            <a:off x="719139" y="1463040"/>
            <a:ext cx="4462461" cy="4369434"/>
          </a:xfrm>
        </p:spPr>
        <p:txBody>
          <a:bodyPr vert="horz" lIns="0" tIns="0" rIns="0" bIns="0" rtlCol="0" anchor="t">
            <a:noAutofit/>
          </a:bodyPr>
          <a:lstStyle/>
          <a:p>
            <a:pPr marL="0" indent="0">
              <a:buNone/>
            </a:pPr>
            <a:r>
              <a:rPr lang="en-US" sz="1100" b="1" dirty="0">
                <a:latin typeface="+mj-lt"/>
                <a:cs typeface="Arial"/>
              </a:rPr>
              <a:t>Definition</a:t>
            </a:r>
          </a:p>
          <a:p>
            <a:pPr marL="171450" indent="-171450">
              <a:buFont typeface="Arial" panose="020B0604020202020204" pitchFamily="34" charset="0"/>
              <a:buChar char="•"/>
            </a:pPr>
            <a:r>
              <a:rPr lang="en-US" sz="1100" b="0" i="1" dirty="0">
                <a:effectLst/>
                <a:latin typeface="+mj-lt"/>
              </a:rPr>
              <a:t>Master Data is consistent and uniform recorded subjects that describe (core) entities of the enterprise. These can be categorized as master, reference or conditional data.</a:t>
            </a:r>
            <a:endParaRPr lang="en-US" sz="1100" b="1" dirty="0">
              <a:latin typeface="+mj-lt"/>
              <a:cs typeface="Arial"/>
            </a:endParaRPr>
          </a:p>
          <a:p>
            <a:pPr marL="0" indent="0">
              <a:buNone/>
            </a:pPr>
            <a:r>
              <a:rPr lang="en-US" sz="1100" b="1" dirty="0">
                <a:latin typeface="+mj-lt"/>
                <a:cs typeface="Arial"/>
              </a:rPr>
              <a:t>Activities</a:t>
            </a:r>
          </a:p>
          <a:p>
            <a:pPr marL="171450" indent="-171450">
              <a:buFont typeface="Arial" panose="020B0604020202020204" pitchFamily="34" charset="0"/>
              <a:buChar char="•"/>
            </a:pPr>
            <a:r>
              <a:rPr lang="en-US" sz="1100" b="0" i="1" dirty="0">
                <a:effectLst/>
                <a:latin typeface="+mj-lt"/>
              </a:rPr>
              <a:t>The following (and not limited to) </a:t>
            </a:r>
            <a:r>
              <a:rPr lang="en-US" sz="1100" i="1" dirty="0">
                <a:latin typeface="+mj-lt"/>
              </a:rPr>
              <a:t>activities are needed to stay in control of our data:</a:t>
            </a:r>
            <a:br>
              <a:rPr lang="en-US" sz="1100" i="1" dirty="0">
                <a:latin typeface="+mj-lt"/>
              </a:rPr>
            </a:br>
            <a:br>
              <a:rPr lang="en-US" sz="1100" i="1" dirty="0">
                <a:latin typeface="+mj-lt"/>
              </a:rPr>
            </a:br>
            <a:r>
              <a:rPr lang="en-US" sz="1100" i="1" dirty="0">
                <a:latin typeface="+mj-lt"/>
              </a:rPr>
              <a:t>- </a:t>
            </a:r>
            <a:r>
              <a:rPr lang="en-US" sz="1100" b="0" i="1" dirty="0">
                <a:effectLst/>
                <a:latin typeface="+mj-lt"/>
              </a:rPr>
              <a:t>Ownership of the underlying model</a:t>
            </a:r>
            <a:br>
              <a:rPr lang="en-US" sz="1100" b="0" i="1" dirty="0">
                <a:effectLst/>
                <a:latin typeface="+mj-lt"/>
              </a:rPr>
            </a:br>
            <a:r>
              <a:rPr lang="en-US" sz="1100" b="0" i="1" dirty="0">
                <a:effectLst/>
                <a:latin typeface="+mj-lt"/>
              </a:rPr>
              <a:t>- Make decisions depending on previously made agreements</a:t>
            </a:r>
            <a:br>
              <a:rPr lang="en-US" sz="1100" b="0" i="1" dirty="0">
                <a:effectLst/>
                <a:latin typeface="+mj-lt"/>
              </a:rPr>
            </a:br>
            <a:r>
              <a:rPr lang="en-US" sz="1100" b="0" i="1" dirty="0">
                <a:effectLst/>
                <a:latin typeface="+mj-lt"/>
              </a:rPr>
              <a:t>- Monitor and ensure that governance is adhered to</a:t>
            </a:r>
            <a:br>
              <a:rPr lang="en-US" sz="1100" b="0" i="1" dirty="0">
                <a:effectLst/>
                <a:latin typeface="+mj-lt"/>
              </a:rPr>
            </a:br>
            <a:r>
              <a:rPr lang="en-US" sz="1100" b="0" i="1" dirty="0">
                <a:effectLst/>
                <a:latin typeface="+mj-lt"/>
              </a:rPr>
              <a:t>- Create and maintain the data</a:t>
            </a:r>
            <a:br>
              <a:rPr lang="en-US" sz="1100" b="0" i="1" dirty="0">
                <a:effectLst/>
                <a:latin typeface="+mj-lt"/>
              </a:rPr>
            </a:br>
            <a:r>
              <a:rPr lang="en-US" sz="1100" b="0" i="1" dirty="0">
                <a:effectLst/>
                <a:latin typeface="+mj-lt"/>
              </a:rPr>
              <a:t>- Propper and correct registration in the corporate metadata solution</a:t>
            </a:r>
            <a:br>
              <a:rPr lang="en-US" sz="1100" b="0" i="1" dirty="0">
                <a:effectLst/>
                <a:latin typeface="+mj-lt"/>
              </a:rPr>
            </a:br>
            <a:r>
              <a:rPr lang="en-US" sz="1100" b="0" i="1" dirty="0">
                <a:effectLst/>
                <a:latin typeface="+mj-lt"/>
              </a:rPr>
              <a:t>- Draw Horizontal and vertical Lineage </a:t>
            </a:r>
            <a:r>
              <a:rPr lang="en-US" sz="1100" i="1" dirty="0">
                <a:latin typeface="+mj-lt"/>
              </a:rPr>
              <a:t>for</a:t>
            </a:r>
            <a:r>
              <a:rPr lang="en-US" sz="1100" b="0" i="1" dirty="0">
                <a:effectLst/>
                <a:latin typeface="+mj-lt"/>
              </a:rPr>
              <a:t> the entity</a:t>
            </a:r>
            <a:br>
              <a:rPr lang="en-US" sz="1100" b="0" i="1" dirty="0">
                <a:effectLst/>
                <a:latin typeface="+mj-lt"/>
              </a:rPr>
            </a:br>
            <a:r>
              <a:rPr lang="en-US" sz="1100" b="0" i="1" dirty="0">
                <a:effectLst/>
                <a:latin typeface="+mj-lt"/>
              </a:rPr>
              <a:t>- Define parameters for the lifecycle of the data</a:t>
            </a:r>
            <a:br>
              <a:rPr lang="en-US" sz="1100" b="0" i="1" dirty="0">
                <a:effectLst/>
                <a:latin typeface="+mj-lt"/>
              </a:rPr>
            </a:br>
            <a:r>
              <a:rPr lang="en-US" sz="1100" b="0" i="1" dirty="0">
                <a:effectLst/>
                <a:latin typeface="+mj-lt"/>
              </a:rPr>
              <a:t>- Create and maintain Business and Quality rules to guarantee   </a:t>
            </a:r>
            <a:br>
              <a:rPr lang="en-US" sz="1100" b="0" i="1" dirty="0">
                <a:effectLst/>
                <a:latin typeface="+mj-lt"/>
              </a:rPr>
            </a:br>
            <a:r>
              <a:rPr lang="en-US" sz="1100" b="0" i="1" dirty="0">
                <a:effectLst/>
                <a:latin typeface="+mj-lt"/>
              </a:rPr>
              <a:t>  consistency and quality</a:t>
            </a:r>
            <a:br>
              <a:rPr lang="en-US" sz="1100" b="0" i="1" dirty="0">
                <a:effectLst/>
                <a:latin typeface="+mj-lt"/>
              </a:rPr>
            </a:br>
            <a:r>
              <a:rPr lang="en-US" sz="1100" b="0" i="1" dirty="0">
                <a:effectLst/>
                <a:latin typeface="+mj-lt"/>
              </a:rPr>
              <a:t>- Source of information for Consumers and Producers</a:t>
            </a:r>
            <a:endParaRPr lang="en-US" sz="1100" b="1" kern="100" dirty="0">
              <a:effectLst/>
              <a:latin typeface="+mj-lt"/>
              <a:ea typeface="Aptos" panose="020B0004020202020204" pitchFamily="34" charset="0"/>
              <a:cs typeface="Segoe UI"/>
            </a:endParaRPr>
          </a:p>
          <a:p>
            <a:pPr marL="0" indent="0">
              <a:buNone/>
            </a:pPr>
            <a:r>
              <a:rPr lang="en-US" sz="1100" b="1" kern="100" dirty="0">
                <a:effectLst/>
                <a:latin typeface="+mj-lt"/>
                <a:ea typeface="Aptos" panose="020B0004020202020204" pitchFamily="34" charset="0"/>
                <a:cs typeface="Segoe UI"/>
              </a:rPr>
              <a:t>Standards &amp; guidelines</a:t>
            </a:r>
            <a:endParaRPr lang="en-US" sz="1100" kern="100" dirty="0">
              <a:effectLst/>
              <a:latin typeface="+mj-lt"/>
              <a:ea typeface="Aptos" panose="020B0004020202020204" pitchFamily="34" charset="0"/>
              <a:cs typeface="Segoe UI"/>
            </a:endParaRPr>
          </a:p>
          <a:p>
            <a:pPr marL="171450" indent="-171450">
              <a:buFont typeface="Arial,Sans-Serif"/>
              <a:buChar char="•"/>
            </a:pPr>
            <a:r>
              <a:rPr lang="en-US" sz="1100" i="1" kern="100" dirty="0">
                <a:latin typeface="+mj-lt"/>
                <a:ea typeface="Aptos" panose="020B0004020202020204" pitchFamily="34" charset="0"/>
                <a:cs typeface="Arial"/>
              </a:rPr>
              <a:t>We need to discover in which category (shared, domain, local) each data entity currently is falling in. We can then decide if we need to manage this centrally or within a domain. </a:t>
            </a:r>
          </a:p>
          <a:p>
            <a:pPr marL="171450" indent="-171450">
              <a:buFont typeface="Arial,Sans-Serif"/>
              <a:buChar char="•"/>
            </a:pPr>
            <a:r>
              <a:rPr lang="en-US" sz="1100" i="1" kern="100" dirty="0">
                <a:latin typeface="+mj-lt"/>
                <a:cs typeface="Arial"/>
              </a:rPr>
              <a:t>Master Data must comply with guidelines of other capabilities like:</a:t>
            </a:r>
            <a:br>
              <a:rPr lang="en-US" sz="1100" i="1" kern="100" dirty="0">
                <a:latin typeface="+mj-lt"/>
                <a:cs typeface="Arial"/>
              </a:rPr>
            </a:br>
            <a:r>
              <a:rPr lang="en-US" sz="1100" i="1" kern="100" dirty="0">
                <a:latin typeface="+mj-lt"/>
                <a:cs typeface="Arial"/>
              </a:rPr>
              <a:t>Data Quality, Lineage, Lifecyle, Privacy, Security, etc.</a:t>
            </a:r>
            <a:endParaRPr lang="en-US" sz="1100" i="1" dirty="0">
              <a:latin typeface="+mj-lt"/>
            </a:endParaRPr>
          </a:p>
          <a:p>
            <a:pPr marL="0" indent="0">
              <a:buNone/>
            </a:pPr>
            <a:r>
              <a:rPr lang="en-US" sz="1100" b="1" dirty="0">
                <a:latin typeface="+mj-lt"/>
              </a:rPr>
              <a:t>Business relevance /drivers</a:t>
            </a:r>
            <a:endParaRPr lang="en-US" sz="1100" dirty="0">
              <a:latin typeface="+mj-lt"/>
            </a:endParaRPr>
          </a:p>
          <a:p>
            <a:pPr marL="171450" indent="-171450">
              <a:buFont typeface="Arial,Sans-Serif"/>
              <a:buChar char="•"/>
            </a:pPr>
            <a:r>
              <a:rPr lang="en-US" sz="1100" i="1" kern="100" dirty="0">
                <a:latin typeface="+mj-lt"/>
                <a:cs typeface="Arial"/>
              </a:rPr>
              <a:t>Recognizing entities as Master Data means that we can make strategic and tactical decisions based on facts. This way we can meet data demands quickly and specifically</a:t>
            </a:r>
          </a:p>
          <a:p>
            <a:endParaRPr lang="en-US" sz="1100" b="1" dirty="0">
              <a:latin typeface="+mj-lt"/>
            </a:endParaRPr>
          </a:p>
        </p:txBody>
      </p:sp>
      <p:sp>
        <p:nvSpPr>
          <p:cNvPr id="5" name="Tijdelijke aanduiding voor tekst 4">
            <a:extLst>
              <a:ext uri="{FF2B5EF4-FFF2-40B4-BE49-F238E27FC236}">
                <a16:creationId xmlns:a16="http://schemas.microsoft.com/office/drawing/2014/main" id="{FB85835F-070D-59B3-8251-296DB14623B6}"/>
              </a:ext>
            </a:extLst>
          </p:cNvPr>
          <p:cNvSpPr>
            <a:spLocks noGrp="1"/>
          </p:cNvSpPr>
          <p:nvPr>
            <p:ph type="body" sz="quarter" idx="25"/>
          </p:nvPr>
        </p:nvSpPr>
        <p:spPr/>
        <p:txBody>
          <a:bodyPr/>
          <a:lstStyle/>
          <a:p>
            <a:r>
              <a:rPr lang="en-US" dirty="0">
                <a:cs typeface="Arial"/>
              </a:rPr>
              <a:t>Versie 0.x</a:t>
            </a:r>
          </a:p>
        </p:txBody>
      </p:sp>
      <p:sp>
        <p:nvSpPr>
          <p:cNvPr id="6" name="Tijdelijke aanduiding voor tekst 3">
            <a:extLst>
              <a:ext uri="{FF2B5EF4-FFF2-40B4-BE49-F238E27FC236}">
                <a16:creationId xmlns:a16="http://schemas.microsoft.com/office/drawing/2014/main" id="{E624E1DF-AA66-B88E-705D-4AB531AEDCB4}"/>
              </a:ext>
            </a:extLst>
          </p:cNvPr>
          <p:cNvSpPr txBox="1">
            <a:spLocks/>
          </p:cNvSpPr>
          <p:nvPr/>
        </p:nvSpPr>
        <p:spPr>
          <a:xfrm>
            <a:off x="6174647" y="1460384"/>
            <a:ext cx="5836480" cy="4806851"/>
          </a:xfrm>
          <a:prstGeom prst="rect">
            <a:avLst/>
          </a:prstGeom>
        </p:spPr>
        <p:txBody>
          <a:bodyPr vert="horz" lIns="0" tIns="0" rIns="0" bIns="0" rtlCol="0" anchor="t">
            <a:noAutofit/>
          </a:bodyPr>
          <a:lstStyle>
            <a:lvl1pPr marL="0" indent="0" algn="l" defTabSz="914400" rtl="0" eaLnBrk="1" latinLnBrk="0" hangingPunct="1">
              <a:lnSpc>
                <a:spcPts val="1400"/>
              </a:lnSpc>
              <a:spcBef>
                <a:spcPts val="500"/>
              </a:spcBef>
              <a:spcAft>
                <a:spcPts val="500"/>
              </a:spcAft>
              <a:buClr>
                <a:schemeClr val="accent2"/>
              </a:buClr>
              <a:buFontTx/>
              <a:buNone/>
              <a:defRPr sz="1400" kern="1200">
                <a:solidFill>
                  <a:schemeClr val="accent2"/>
                </a:solidFill>
                <a:latin typeface="+mn-lt"/>
                <a:ea typeface="+mn-ea"/>
                <a:cs typeface="+mn-cs"/>
              </a:defRPr>
            </a:lvl1pPr>
            <a:lvl2pPr marL="539750" indent="-273050" algn="l" defTabSz="914400" rtl="0" eaLnBrk="1" latinLnBrk="0" hangingPunct="1">
              <a:lnSpc>
                <a:spcPts val="1400"/>
              </a:lnSpc>
              <a:spcBef>
                <a:spcPts val="500"/>
              </a:spcBef>
              <a:spcAft>
                <a:spcPts val="500"/>
              </a:spcAft>
              <a:buClr>
                <a:schemeClr val="accent2"/>
              </a:buClr>
              <a:buFont typeface="Arial" panose="020B0604020202020204" pitchFamily="34" charset="0"/>
              <a:buChar char="•"/>
              <a:tabLst/>
              <a:defRPr sz="1400" kern="1200">
                <a:solidFill>
                  <a:schemeClr val="accent2"/>
                </a:solidFill>
                <a:latin typeface="+mn-lt"/>
                <a:ea typeface="+mn-ea"/>
                <a:cs typeface="+mn-cs"/>
              </a:defRPr>
            </a:lvl2pPr>
            <a:lvl3pPr marL="806450" indent="-266700" algn="l" defTabSz="1346200" rtl="0" eaLnBrk="1" latinLnBrk="0" hangingPunct="1">
              <a:lnSpc>
                <a:spcPts val="1400"/>
              </a:lnSpc>
              <a:spcBef>
                <a:spcPts val="500"/>
              </a:spcBef>
              <a:spcAft>
                <a:spcPts val="500"/>
              </a:spcAft>
              <a:buClr>
                <a:schemeClr val="accent2"/>
              </a:buClr>
              <a:buFont typeface="Segoe UI Light" panose="020B0502040204020203" pitchFamily="34" charset="0"/>
              <a:buChar char="–"/>
              <a:tabLst/>
              <a:defRPr sz="1200" kern="1200">
                <a:solidFill>
                  <a:schemeClr val="accent2"/>
                </a:solidFill>
                <a:latin typeface="+mn-lt"/>
                <a:ea typeface="+mn-ea"/>
                <a:cs typeface="+mn-cs"/>
              </a:defRPr>
            </a:lvl3pPr>
            <a:lvl4pPr marL="0" indent="0" algn="l" defTabSz="914400" rtl="0" eaLnBrk="1" latinLnBrk="0" hangingPunct="1">
              <a:lnSpc>
                <a:spcPts val="1400"/>
              </a:lnSpc>
              <a:spcBef>
                <a:spcPts val="500"/>
              </a:spcBef>
              <a:spcAft>
                <a:spcPts val="500"/>
              </a:spcAft>
              <a:buFont typeface="Arial" panose="020B0604020202020204" pitchFamily="34" charset="0"/>
              <a:buNone/>
              <a:defRPr sz="1400" kern="1200">
                <a:solidFill>
                  <a:schemeClr val="accent2"/>
                </a:solidFill>
                <a:latin typeface="+mn-lt"/>
                <a:ea typeface="+mn-ea"/>
                <a:cs typeface="+mn-cs"/>
              </a:defRPr>
            </a:lvl4pPr>
            <a:lvl5pPr marL="0" indent="0" algn="l" defTabSz="914400" rtl="0" eaLnBrk="1" latinLnBrk="0" hangingPunct="1">
              <a:lnSpc>
                <a:spcPts val="1400"/>
              </a:lnSpc>
              <a:spcBef>
                <a:spcPts val="500"/>
              </a:spcBef>
              <a:spcAft>
                <a:spcPts val="500"/>
              </a:spcAft>
              <a:buFont typeface="Arial" panose="020B0604020202020204" pitchFamily="34" charset="0"/>
              <a:buNone/>
              <a:defRPr sz="1400" b="1" kern="1200">
                <a:solidFill>
                  <a:schemeClr val="accent1"/>
                </a:solidFill>
                <a:latin typeface="+mj-lt"/>
                <a:ea typeface="+mn-ea"/>
                <a:cs typeface="+mn-cs"/>
              </a:defRPr>
            </a:lvl5pPr>
            <a:lvl6pPr marL="0" indent="0" algn="l" defTabSz="914400" rtl="0" eaLnBrk="1" latinLnBrk="0" hangingPunct="1">
              <a:lnSpc>
                <a:spcPts val="1400"/>
              </a:lnSpc>
              <a:spcBef>
                <a:spcPts val="500"/>
              </a:spcBef>
              <a:spcAft>
                <a:spcPts val="500"/>
              </a:spcAft>
              <a:buClr>
                <a:schemeClr val="accent1"/>
              </a:buClr>
              <a:buFont typeface="Arial" panose="020B0604020202020204" pitchFamily="34" charset="0"/>
              <a:buNone/>
              <a:defRPr sz="1600" b="1" kern="1200" cap="none" baseline="0">
                <a:solidFill>
                  <a:schemeClr val="accent2"/>
                </a:solidFill>
                <a:latin typeface="+mj-lt"/>
                <a:ea typeface="+mn-ea"/>
                <a:cs typeface="+mn-cs"/>
              </a:defRPr>
            </a:lvl6pPr>
            <a:lvl7pPr marL="268288" indent="-268288" algn="l" defTabSz="914400" rtl="0" eaLnBrk="1" latinLnBrk="0" hangingPunct="1">
              <a:lnSpc>
                <a:spcPts val="1400"/>
              </a:lnSpc>
              <a:spcBef>
                <a:spcPts val="500"/>
              </a:spcBef>
              <a:spcAft>
                <a:spcPts val="500"/>
              </a:spcAft>
              <a:buClr>
                <a:schemeClr val="accent2"/>
              </a:buClr>
              <a:buFont typeface="+mj-lt"/>
              <a:buAutoNum type="arabicPeriod"/>
              <a:tabLst/>
              <a:defRPr sz="1400" kern="1200">
                <a:solidFill>
                  <a:schemeClr val="accent2"/>
                </a:solidFill>
                <a:latin typeface="+mn-lt"/>
                <a:ea typeface="+mn-ea"/>
                <a:cs typeface="+mn-cs"/>
              </a:defRPr>
            </a:lvl7pPr>
            <a:lvl8pPr marL="536575" indent="-268288" algn="l" defTabSz="914400" rtl="0" eaLnBrk="1" latinLnBrk="0" hangingPunct="1">
              <a:lnSpc>
                <a:spcPts val="1400"/>
              </a:lnSpc>
              <a:spcBef>
                <a:spcPts val="500"/>
              </a:spcBef>
              <a:spcAft>
                <a:spcPts val="500"/>
              </a:spcAft>
              <a:buClr>
                <a:schemeClr val="accent2"/>
              </a:buClr>
              <a:buFont typeface="+mj-lt"/>
              <a:buAutoNum type="alphaLcPeriod"/>
              <a:defRPr sz="1200" kern="1200">
                <a:solidFill>
                  <a:schemeClr val="accent2"/>
                </a:solidFill>
                <a:latin typeface="+mn-lt"/>
                <a:ea typeface="+mn-ea"/>
                <a:cs typeface="+mn-cs"/>
              </a:defRPr>
            </a:lvl8pPr>
            <a:lvl9pPr marL="0" indent="0" algn="l" defTabSz="914400" rtl="0" eaLnBrk="1" latinLnBrk="0" hangingPunct="1">
              <a:lnSpc>
                <a:spcPts val="1400"/>
              </a:lnSpc>
              <a:spcBef>
                <a:spcPts val="500"/>
              </a:spcBef>
              <a:spcAft>
                <a:spcPts val="500"/>
              </a:spcAft>
              <a:buClr>
                <a:schemeClr val="accent1"/>
              </a:buClr>
              <a:buFont typeface="Arial" panose="020B0604020202020204" pitchFamily="34" charset="0"/>
              <a:buNone/>
              <a:defRPr sz="1200" i="1" kern="1200">
                <a:solidFill>
                  <a:schemeClr val="tx2"/>
                </a:solidFill>
                <a:latin typeface="+mn-lt"/>
                <a:ea typeface="+mn-ea"/>
                <a:cs typeface="+mn-cs"/>
              </a:defRPr>
            </a:lvl9pPr>
          </a:lstStyle>
          <a:p>
            <a:r>
              <a:rPr lang="en-US" sz="1100" b="1" kern="100" dirty="0">
                <a:effectLst/>
                <a:latin typeface="+mj-lt"/>
                <a:ea typeface="Aptos" panose="020B0004020202020204" pitchFamily="34" charset="0"/>
                <a:cs typeface="Times New Roman"/>
              </a:rPr>
              <a:t>Tooling</a:t>
            </a:r>
          </a:p>
          <a:p>
            <a:pPr marL="171450" indent="-171450">
              <a:buFont typeface="Arial" panose="020B0604020202020204" pitchFamily="34" charset="0"/>
              <a:buChar char="•"/>
            </a:pPr>
            <a:r>
              <a:rPr lang="en-US" sz="1100" i="1" dirty="0">
                <a:latin typeface="+mj-lt"/>
              </a:rPr>
              <a:t>Can be anything that meet the standards &amp; guidelines for the capability Master Data Management</a:t>
            </a:r>
            <a:endParaRPr lang="en-US" sz="1100" b="0" i="1" dirty="0">
              <a:effectLst/>
              <a:latin typeface="+mj-lt"/>
              <a:cs typeface="Arial"/>
            </a:endParaRPr>
          </a:p>
          <a:p>
            <a:pPr>
              <a:buFont typeface="Arial" panose="020B0604020202020204" pitchFamily="34" charset="0"/>
            </a:pPr>
            <a:r>
              <a:rPr lang="en-US" sz="1100" b="1" dirty="0">
                <a:latin typeface="+mj-lt"/>
                <a:cs typeface="Arial"/>
              </a:rPr>
              <a:t>Organization</a:t>
            </a:r>
            <a:endParaRPr lang="en-US" sz="1100" b="1" i="1" dirty="0">
              <a:latin typeface="+mj-lt"/>
              <a:cs typeface="Arial"/>
            </a:endParaRPr>
          </a:p>
          <a:p>
            <a:pPr marL="171450" indent="-171450">
              <a:buFont typeface="Arial" panose="020B0604020202020204" pitchFamily="34" charset="0"/>
              <a:buChar char="•"/>
            </a:pPr>
            <a:r>
              <a:rPr lang="en-US" sz="1100" i="1" dirty="0">
                <a:latin typeface="+mj-lt"/>
                <a:cs typeface="Arial"/>
              </a:rPr>
              <a:t>Centralized and federated</a:t>
            </a:r>
            <a:endParaRPr lang="en-US" sz="1100" b="1" dirty="0">
              <a:latin typeface="+mj-lt"/>
              <a:cs typeface="Arial"/>
            </a:endParaRPr>
          </a:p>
          <a:p>
            <a:pPr marL="171450" indent="-171450">
              <a:buFont typeface="Arial" panose="020B0604020202020204" pitchFamily="34" charset="0"/>
              <a:buChar char="•"/>
            </a:pPr>
            <a:r>
              <a:rPr lang="en-US" sz="1100" i="1" dirty="0">
                <a:latin typeface="+mj-lt"/>
                <a:cs typeface="Arial"/>
              </a:rPr>
              <a:t>Data must be organized depending on how the it will be used (shared, in a domain, or local) </a:t>
            </a:r>
            <a:br>
              <a:rPr lang="en-US" sz="1100" i="1" dirty="0">
                <a:latin typeface="+mj-lt"/>
                <a:cs typeface="Arial"/>
              </a:rPr>
            </a:br>
            <a:r>
              <a:rPr lang="en-US" sz="1100" i="1" dirty="0">
                <a:latin typeface="+mj-lt"/>
                <a:cs typeface="Arial"/>
              </a:rPr>
              <a:t>Shared Master Data must be organized in a centralized but maintained in a federated way. This means that the structure and governance is defined centrally but the data itself can be managed federated</a:t>
            </a:r>
            <a:br>
              <a:rPr lang="en-US" sz="1100" i="1" dirty="0">
                <a:latin typeface="+mj-lt"/>
                <a:cs typeface="Arial"/>
              </a:rPr>
            </a:br>
            <a:r>
              <a:rPr lang="en-US" sz="1100" i="1" dirty="0">
                <a:latin typeface="+mj-lt"/>
                <a:cs typeface="Arial"/>
              </a:rPr>
              <a:t>Domain and local Master Data need to be organized in a federated way!</a:t>
            </a:r>
            <a:br>
              <a:rPr lang="en-US" sz="1100" i="1" dirty="0">
                <a:latin typeface="+mj-lt"/>
                <a:cs typeface="Arial"/>
              </a:rPr>
            </a:br>
            <a:r>
              <a:rPr lang="en-US" sz="1100" i="1" dirty="0">
                <a:latin typeface="+mj-lt"/>
                <a:cs typeface="Arial"/>
              </a:rPr>
              <a:t>This means that when the scope/usage changes, the organization needs to review the positioning.</a:t>
            </a:r>
          </a:p>
          <a:p>
            <a:r>
              <a:rPr lang="en-US" sz="1100" b="1" dirty="0">
                <a:latin typeface="+mj-lt"/>
                <a:cs typeface="Segoe UI"/>
              </a:rPr>
              <a:t>Roles and responsibilities</a:t>
            </a:r>
            <a:endParaRPr lang="en-US" sz="1100" dirty="0">
              <a:latin typeface="+mj-lt"/>
              <a:cs typeface="Segoe UI"/>
            </a:endParaRPr>
          </a:p>
          <a:p>
            <a:pPr marL="171450" indent="-171450">
              <a:buFont typeface="Arial" panose="020B0604020202020204" pitchFamily="34" charset="0"/>
              <a:buChar char="•"/>
            </a:pPr>
            <a:r>
              <a:rPr lang="en-US" sz="1100" i="1" dirty="0">
                <a:latin typeface="+mj-lt"/>
                <a:cs typeface="Arial"/>
              </a:rPr>
              <a:t>Master Data needs a few roles in several categories like Authorship, Ownership. Enabling and Mandate. These roles are described in the Target Architecture Master Data Management. (</a:t>
            </a:r>
            <a:r>
              <a:rPr lang="en-US" sz="1100" i="1" dirty="0" err="1">
                <a:latin typeface="+mj-lt"/>
                <a:cs typeface="Arial"/>
              </a:rPr>
              <a:t>refereren</a:t>
            </a:r>
            <a:r>
              <a:rPr lang="en-US" sz="1100" i="1" dirty="0">
                <a:latin typeface="+mj-lt"/>
                <a:cs typeface="Arial"/>
              </a:rPr>
              <a:t> </a:t>
            </a:r>
            <a:r>
              <a:rPr lang="en-US" sz="1100" i="1" dirty="0" err="1">
                <a:latin typeface="+mj-lt"/>
                <a:cs typeface="Arial"/>
              </a:rPr>
              <a:t>naar</a:t>
            </a:r>
            <a:r>
              <a:rPr lang="en-US" sz="1100" i="1" dirty="0">
                <a:latin typeface="+mj-lt"/>
                <a:cs typeface="Arial"/>
              </a:rPr>
              <a:t> document en slide </a:t>
            </a:r>
            <a:r>
              <a:rPr lang="en-US" sz="1100" i="1" dirty="0" err="1">
                <a:latin typeface="+mj-lt"/>
                <a:cs typeface="Arial"/>
              </a:rPr>
              <a:t>nummer</a:t>
            </a:r>
            <a:r>
              <a:rPr lang="en-US" sz="1100" i="1" dirty="0">
                <a:latin typeface="+mj-lt"/>
                <a:cs typeface="Arial"/>
              </a:rPr>
              <a:t> of </a:t>
            </a:r>
            <a:r>
              <a:rPr lang="en-US" sz="1100" i="1" dirty="0" err="1">
                <a:latin typeface="+mj-lt"/>
                <a:cs typeface="Arial"/>
              </a:rPr>
              <a:t>toevoegen</a:t>
            </a:r>
            <a:r>
              <a:rPr lang="en-US" sz="1100" i="1" dirty="0">
                <a:latin typeface="+mj-lt"/>
                <a:cs typeface="Arial"/>
              </a:rPr>
              <a:t> </a:t>
            </a:r>
            <a:r>
              <a:rPr lang="en-US" sz="1100" i="1" dirty="0" err="1">
                <a:latin typeface="+mj-lt"/>
                <a:cs typeface="Arial"/>
              </a:rPr>
              <a:t>aan</a:t>
            </a:r>
            <a:r>
              <a:rPr lang="en-US" sz="1100" i="1" dirty="0">
                <a:latin typeface="+mj-lt"/>
                <a:cs typeface="Arial"/>
              </a:rPr>
              <a:t> </a:t>
            </a:r>
            <a:r>
              <a:rPr lang="en-US" sz="1100" i="1" dirty="0" err="1">
                <a:latin typeface="+mj-lt"/>
                <a:cs typeface="Arial"/>
              </a:rPr>
              <a:t>deze</a:t>
            </a:r>
            <a:r>
              <a:rPr lang="en-US" sz="1100" i="1" dirty="0">
                <a:latin typeface="+mj-lt"/>
                <a:cs typeface="Arial"/>
              </a:rPr>
              <a:t> slides)</a:t>
            </a:r>
            <a:endParaRPr lang="en-US" sz="1100" b="1" i="1" dirty="0">
              <a:latin typeface="+mj-lt"/>
              <a:ea typeface="Aptos" panose="020B0004020202020204" pitchFamily="34" charset="0"/>
              <a:cs typeface="Times New Roman" panose="02020603050405020304" pitchFamily="18" charset="0"/>
            </a:endParaRPr>
          </a:p>
          <a:p>
            <a:pPr lvl="0"/>
            <a:r>
              <a:rPr lang="en-US" sz="1100" b="1" kern="100" dirty="0">
                <a:effectLst/>
                <a:latin typeface="+mj-lt"/>
                <a:ea typeface="Aptos" panose="020B0004020202020204" pitchFamily="34" charset="0"/>
                <a:cs typeface="Times New Roman"/>
              </a:rPr>
              <a:t>Challenges, Solutions and roadmap to the future</a:t>
            </a:r>
          </a:p>
          <a:p>
            <a:pPr marL="171450" indent="-171450">
              <a:buFont typeface="Arial" panose="020B0604020202020204" pitchFamily="34" charset="0"/>
              <a:buChar char="•"/>
            </a:pPr>
            <a:r>
              <a:rPr lang="en-US" sz="1100" i="1" dirty="0">
                <a:latin typeface="+mj-lt"/>
                <a:cs typeface="Arial"/>
              </a:rPr>
              <a:t>Have confidence in the fact that a unit has the best interests of </a:t>
            </a:r>
            <a:r>
              <a:rPr lang="en-US" sz="1100" i="1" dirty="0" err="1">
                <a:latin typeface="+mj-lt"/>
                <a:cs typeface="Arial"/>
              </a:rPr>
              <a:t>of</a:t>
            </a:r>
            <a:r>
              <a:rPr lang="en-US" sz="1100" i="1" dirty="0">
                <a:latin typeface="+mj-lt"/>
                <a:cs typeface="Arial"/>
              </a:rPr>
              <a:t> PostNL in mind</a:t>
            </a:r>
          </a:p>
          <a:p>
            <a:pPr marL="171450" indent="-171450">
              <a:buFont typeface="Arial" panose="020B0604020202020204" pitchFamily="34" charset="0"/>
              <a:buChar char="•"/>
            </a:pPr>
            <a:r>
              <a:rPr lang="en-US" sz="1100" i="1" dirty="0">
                <a:latin typeface="+mj-lt"/>
                <a:cs typeface="Arial"/>
              </a:rPr>
              <a:t>Not thinking and acting as a consumer, but as a producer</a:t>
            </a:r>
          </a:p>
          <a:p>
            <a:pPr marL="171450" indent="-171450">
              <a:buFont typeface="Arial" panose="020B0604020202020204" pitchFamily="34" charset="0"/>
              <a:buChar char="•"/>
            </a:pPr>
            <a:r>
              <a:rPr lang="en-US" sz="1100" i="1" dirty="0">
                <a:latin typeface="+mj-lt"/>
                <a:cs typeface="Arial"/>
              </a:rPr>
              <a:t>Following standards &amp; guidelines, even if that means investing in time and resources</a:t>
            </a:r>
          </a:p>
          <a:p>
            <a:pPr marL="171450" indent="-171450">
              <a:buFont typeface="Arial" panose="020B0604020202020204" pitchFamily="34" charset="0"/>
              <a:buChar char="•"/>
            </a:pPr>
            <a:r>
              <a:rPr lang="en-US" sz="1100" i="1" dirty="0">
                <a:latin typeface="+mj-lt"/>
                <a:cs typeface="Arial"/>
              </a:rPr>
              <a:t>avoid temptation to do it your self and add/change data</a:t>
            </a:r>
          </a:p>
          <a:p>
            <a:endParaRPr lang="en-US" sz="1100" b="1" kern="100" dirty="0">
              <a:latin typeface="+mj-lt"/>
              <a:ea typeface="Aptos" panose="020B0004020202020204" pitchFamily="34" charset="0"/>
              <a:cs typeface="Times New Roman" panose="02020603050405020304" pitchFamily="18" charset="0"/>
            </a:endParaRPr>
          </a:p>
          <a:p>
            <a:endParaRPr lang="en-US" sz="1100" kern="100" dirty="0">
              <a:latin typeface="+mj-lt"/>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744215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CA297E-3E9F-B83C-A2CE-5BDABE1035D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16BFAD7-4CCA-36C0-3576-80EA632A24DF}"/>
              </a:ext>
            </a:extLst>
          </p:cNvPr>
          <p:cNvSpPr>
            <a:spLocks noGrp="1"/>
          </p:cNvSpPr>
          <p:nvPr>
            <p:ph type="title"/>
          </p:nvPr>
        </p:nvSpPr>
        <p:spPr>
          <a:xfrm>
            <a:off x="719999" y="360000"/>
            <a:ext cx="10753200" cy="443198"/>
          </a:xfrm>
        </p:spPr>
        <p:txBody>
          <a:bodyPr/>
          <a:lstStyle/>
          <a:p>
            <a:r>
              <a:rPr lang="en-US" dirty="0"/>
              <a:t>Capability overview: Master Data Management</a:t>
            </a:r>
            <a:endParaRPr lang="nl-NL" dirty="0"/>
          </a:p>
        </p:txBody>
      </p:sp>
      <p:sp>
        <p:nvSpPr>
          <p:cNvPr id="3" name="Tijdelijke aanduiding voor dianummer 2">
            <a:extLst>
              <a:ext uri="{FF2B5EF4-FFF2-40B4-BE49-F238E27FC236}">
                <a16:creationId xmlns:a16="http://schemas.microsoft.com/office/drawing/2014/main" id="{0A443ED5-6091-5DF5-3E7A-E9523EB6B837}"/>
              </a:ext>
            </a:extLst>
          </p:cNvPr>
          <p:cNvSpPr>
            <a:spLocks noGrp="1"/>
          </p:cNvSpPr>
          <p:nvPr>
            <p:ph type="sldNum" sz="quarter" idx="20"/>
          </p:nvPr>
        </p:nvSpPr>
        <p:spPr/>
        <p:txBody>
          <a:bodyPr/>
          <a:lstStyle/>
          <a:p>
            <a:fld id="{9E843DB9-9987-4157-AB9C-CEA8D7D910BB}" type="slidenum">
              <a:rPr lang="en-US" smtClean="0"/>
              <a:pPr/>
              <a:t>4</a:t>
            </a:fld>
            <a:endParaRPr lang="en-US" dirty="0"/>
          </a:p>
        </p:txBody>
      </p:sp>
      <p:sp>
        <p:nvSpPr>
          <p:cNvPr id="4" name="Tijdelijke aanduiding voor tekst 3">
            <a:extLst>
              <a:ext uri="{FF2B5EF4-FFF2-40B4-BE49-F238E27FC236}">
                <a16:creationId xmlns:a16="http://schemas.microsoft.com/office/drawing/2014/main" id="{ADA25CE5-1B94-31EF-0C9E-F2D268580C28}"/>
              </a:ext>
            </a:extLst>
          </p:cNvPr>
          <p:cNvSpPr>
            <a:spLocks noGrp="1"/>
          </p:cNvSpPr>
          <p:nvPr>
            <p:ph type="body" sz="quarter" idx="21"/>
          </p:nvPr>
        </p:nvSpPr>
        <p:spPr>
          <a:xfrm>
            <a:off x="719139" y="1463040"/>
            <a:ext cx="4462461" cy="4369434"/>
          </a:xfrm>
        </p:spPr>
        <p:txBody>
          <a:bodyPr vert="horz" lIns="0" tIns="0" rIns="0" bIns="0" rtlCol="0" anchor="t">
            <a:noAutofit/>
          </a:bodyPr>
          <a:lstStyle/>
          <a:p>
            <a:pPr marL="0" indent="0">
              <a:buNone/>
            </a:pPr>
            <a:r>
              <a:rPr lang="en-US" sz="1100" b="1" dirty="0">
                <a:latin typeface="+mj-lt"/>
                <a:cs typeface="Arial"/>
              </a:rPr>
              <a:t>Definition</a:t>
            </a:r>
          </a:p>
          <a:p>
            <a:pPr marL="171450" indent="-171450">
              <a:buFont typeface="Arial" panose="020B0604020202020204" pitchFamily="34" charset="0"/>
              <a:buChar char="•"/>
            </a:pPr>
            <a:r>
              <a:rPr lang="en-US" sz="1100" i="1" dirty="0">
                <a:latin typeface="+mj-lt"/>
              </a:rPr>
              <a:t>Master Data Management (MDM) is a technology-enabled discipline in which business and information technology work together to ensure the uniformity, accuracy, stewardship, semantic consistency and accountability of the enterprise's official shared master data assets.</a:t>
            </a:r>
          </a:p>
          <a:p>
            <a:pPr marL="0" indent="0">
              <a:buNone/>
            </a:pPr>
            <a:r>
              <a:rPr lang="en-US" sz="1100" b="1" dirty="0">
                <a:latin typeface="+mj-lt"/>
                <a:cs typeface="Arial"/>
              </a:rPr>
              <a:t>Activities</a:t>
            </a:r>
          </a:p>
          <a:p>
            <a:pPr algn="l" rtl="0" fontAlgn="base">
              <a:buFont typeface="Arial" panose="020B0604020202020204" pitchFamily="34" charset="0"/>
              <a:buChar char="•"/>
            </a:pPr>
            <a:r>
              <a:rPr lang="en-US" sz="1100" i="1" dirty="0">
                <a:latin typeface="+mj-lt"/>
              </a:rPr>
              <a:t>Data Modelling​: Create a visual overview of the data elements and relations​</a:t>
            </a:r>
          </a:p>
          <a:p>
            <a:pPr algn="l" rtl="0" fontAlgn="base">
              <a:buFont typeface="Arial" panose="020B0604020202020204" pitchFamily="34" charset="0"/>
              <a:buChar char="•"/>
            </a:pPr>
            <a:r>
              <a:rPr lang="en-US" sz="1100" i="1" dirty="0">
                <a:latin typeface="+mj-lt"/>
              </a:rPr>
              <a:t>Data Integration​: Processes for storing and sharing master data ​</a:t>
            </a:r>
          </a:p>
          <a:p>
            <a:pPr algn="l" rtl="0" fontAlgn="base">
              <a:buFont typeface="Arial" panose="020B0604020202020204" pitchFamily="34" charset="0"/>
              <a:buChar char="•"/>
            </a:pPr>
            <a:r>
              <a:rPr lang="en-US" sz="1100" i="1" dirty="0">
                <a:latin typeface="+mj-lt"/>
              </a:rPr>
              <a:t>Data User Interface​: Providing a functional user interface design for web and apps​</a:t>
            </a:r>
          </a:p>
          <a:p>
            <a:pPr algn="l" rtl="0" fontAlgn="base">
              <a:buFont typeface="Arial" panose="020B0604020202020204" pitchFamily="34" charset="0"/>
              <a:buChar char="•"/>
            </a:pPr>
            <a:r>
              <a:rPr lang="en-US" sz="1100" i="1" dirty="0">
                <a:latin typeface="+mj-lt"/>
              </a:rPr>
              <a:t>Data Life Cycle​: Managing the lifecycle of master data from creation to its end of life​</a:t>
            </a:r>
          </a:p>
          <a:p>
            <a:pPr algn="l" rtl="0" fontAlgn="base">
              <a:buFont typeface="Arial" panose="020B0604020202020204" pitchFamily="34" charset="0"/>
              <a:buChar char="•"/>
            </a:pPr>
            <a:r>
              <a:rPr lang="en-US" sz="1100" i="1" dirty="0">
                <a:latin typeface="+mj-lt"/>
              </a:rPr>
              <a:t>Data Quality​: Processes for checking data conform a set of rules​</a:t>
            </a:r>
          </a:p>
          <a:p>
            <a:pPr algn="l" rtl="0" fontAlgn="base">
              <a:buFont typeface="Arial" panose="020B0604020202020204" pitchFamily="34" charset="0"/>
              <a:buChar char="•"/>
            </a:pPr>
            <a:r>
              <a:rPr lang="en-US" sz="1100" i="1" dirty="0">
                <a:latin typeface="+mj-lt"/>
              </a:rPr>
              <a:t>Data Governance​: Defines Authorship, Ownership, Rules and Regulations</a:t>
            </a:r>
            <a:endParaRPr lang="en-US" sz="1100" b="1" kern="100" dirty="0">
              <a:effectLst/>
              <a:latin typeface="+mj-lt"/>
              <a:ea typeface="Aptos" panose="020B0004020202020204" pitchFamily="34" charset="0"/>
              <a:cs typeface="Segoe UI"/>
            </a:endParaRPr>
          </a:p>
          <a:p>
            <a:pPr marL="0" indent="0">
              <a:buNone/>
            </a:pPr>
            <a:r>
              <a:rPr lang="en-US" sz="1100" b="1" kern="100" dirty="0">
                <a:effectLst/>
                <a:latin typeface="+mj-lt"/>
                <a:ea typeface="Aptos" panose="020B0004020202020204" pitchFamily="34" charset="0"/>
                <a:cs typeface="Segoe UI"/>
              </a:rPr>
              <a:t>Standards &amp; guidelines</a:t>
            </a:r>
            <a:endParaRPr lang="en-US" sz="1100" kern="100" dirty="0">
              <a:effectLst/>
              <a:latin typeface="+mj-lt"/>
              <a:ea typeface="Aptos" panose="020B0004020202020204" pitchFamily="34" charset="0"/>
              <a:cs typeface="Segoe UI"/>
            </a:endParaRPr>
          </a:p>
          <a:p>
            <a:pPr marL="171450" indent="-171450">
              <a:buFont typeface="Arial,Sans-Serif"/>
              <a:buChar char="•"/>
            </a:pPr>
            <a:r>
              <a:rPr lang="en-US" sz="1100" i="1" kern="100" dirty="0">
                <a:latin typeface="+mj-lt"/>
                <a:cs typeface="Arial"/>
              </a:rPr>
              <a:t>We need to ensure that system complies to standards and guidelines which defined in Target Architecture MDM. These are for example: CRUD functionality, time dependent registration, data integration, data replication, etc.</a:t>
            </a:r>
            <a:endParaRPr lang="en-US" sz="1100" i="1" dirty="0">
              <a:latin typeface="+mj-lt"/>
            </a:endParaRPr>
          </a:p>
          <a:p>
            <a:pPr marL="0" indent="0">
              <a:buNone/>
            </a:pPr>
            <a:r>
              <a:rPr lang="en-US" sz="1100" b="1" dirty="0">
                <a:latin typeface="+mj-lt"/>
              </a:rPr>
              <a:t>Business relevance /drivers</a:t>
            </a:r>
            <a:endParaRPr lang="en-US" sz="1100" dirty="0">
              <a:latin typeface="+mj-lt"/>
            </a:endParaRPr>
          </a:p>
          <a:p>
            <a:pPr marL="171450" indent="-171450">
              <a:buFont typeface="Arial,Sans-Serif"/>
              <a:buChar char="•"/>
            </a:pPr>
            <a:r>
              <a:rPr lang="en-US" sz="1100" i="1" kern="100" dirty="0">
                <a:latin typeface="+mj-lt"/>
                <a:cs typeface="Arial"/>
              </a:rPr>
              <a:t>Creating and maintaining a single version of the truth across our organization</a:t>
            </a:r>
          </a:p>
          <a:p>
            <a:endParaRPr lang="en-US" sz="1100" b="1" dirty="0">
              <a:latin typeface="+mj-lt"/>
            </a:endParaRPr>
          </a:p>
        </p:txBody>
      </p:sp>
      <p:sp>
        <p:nvSpPr>
          <p:cNvPr id="5" name="Tijdelijke aanduiding voor tekst 4">
            <a:extLst>
              <a:ext uri="{FF2B5EF4-FFF2-40B4-BE49-F238E27FC236}">
                <a16:creationId xmlns:a16="http://schemas.microsoft.com/office/drawing/2014/main" id="{DA3797BC-F637-A75A-A1AC-BF487F453FD9}"/>
              </a:ext>
            </a:extLst>
          </p:cNvPr>
          <p:cNvSpPr>
            <a:spLocks noGrp="1"/>
          </p:cNvSpPr>
          <p:nvPr>
            <p:ph type="body" sz="quarter" idx="25"/>
          </p:nvPr>
        </p:nvSpPr>
        <p:spPr/>
        <p:txBody>
          <a:bodyPr/>
          <a:lstStyle/>
          <a:p>
            <a:r>
              <a:rPr lang="en-US" dirty="0">
                <a:cs typeface="Arial"/>
              </a:rPr>
              <a:t>Versie 0.x</a:t>
            </a:r>
          </a:p>
        </p:txBody>
      </p:sp>
      <p:sp>
        <p:nvSpPr>
          <p:cNvPr id="6" name="Tijdelijke aanduiding voor tekst 3">
            <a:extLst>
              <a:ext uri="{FF2B5EF4-FFF2-40B4-BE49-F238E27FC236}">
                <a16:creationId xmlns:a16="http://schemas.microsoft.com/office/drawing/2014/main" id="{A54E30B6-7603-537C-2962-5420056039A5}"/>
              </a:ext>
            </a:extLst>
          </p:cNvPr>
          <p:cNvSpPr txBox="1">
            <a:spLocks/>
          </p:cNvSpPr>
          <p:nvPr/>
        </p:nvSpPr>
        <p:spPr>
          <a:xfrm>
            <a:off x="6174647" y="1460385"/>
            <a:ext cx="5836480" cy="3505898"/>
          </a:xfrm>
          <a:prstGeom prst="rect">
            <a:avLst/>
          </a:prstGeom>
        </p:spPr>
        <p:txBody>
          <a:bodyPr vert="horz" lIns="0" tIns="0" rIns="0" bIns="0" rtlCol="0" anchor="t">
            <a:noAutofit/>
          </a:bodyPr>
          <a:lstStyle>
            <a:lvl1pPr marL="0" indent="0" algn="l" defTabSz="914400" rtl="0" eaLnBrk="1" latinLnBrk="0" hangingPunct="1">
              <a:lnSpc>
                <a:spcPts val="1400"/>
              </a:lnSpc>
              <a:spcBef>
                <a:spcPts val="500"/>
              </a:spcBef>
              <a:spcAft>
                <a:spcPts val="500"/>
              </a:spcAft>
              <a:buClr>
                <a:schemeClr val="accent2"/>
              </a:buClr>
              <a:buFontTx/>
              <a:buNone/>
              <a:defRPr sz="1400" kern="1200">
                <a:solidFill>
                  <a:schemeClr val="accent2"/>
                </a:solidFill>
                <a:latin typeface="+mn-lt"/>
                <a:ea typeface="+mn-ea"/>
                <a:cs typeface="+mn-cs"/>
              </a:defRPr>
            </a:lvl1pPr>
            <a:lvl2pPr marL="539750" indent="-273050" algn="l" defTabSz="914400" rtl="0" eaLnBrk="1" latinLnBrk="0" hangingPunct="1">
              <a:lnSpc>
                <a:spcPts val="1400"/>
              </a:lnSpc>
              <a:spcBef>
                <a:spcPts val="500"/>
              </a:spcBef>
              <a:spcAft>
                <a:spcPts val="500"/>
              </a:spcAft>
              <a:buClr>
                <a:schemeClr val="accent2"/>
              </a:buClr>
              <a:buFont typeface="Arial" panose="020B0604020202020204" pitchFamily="34" charset="0"/>
              <a:buChar char="•"/>
              <a:tabLst/>
              <a:defRPr sz="1400" kern="1200">
                <a:solidFill>
                  <a:schemeClr val="accent2"/>
                </a:solidFill>
                <a:latin typeface="+mn-lt"/>
                <a:ea typeface="+mn-ea"/>
                <a:cs typeface="+mn-cs"/>
              </a:defRPr>
            </a:lvl2pPr>
            <a:lvl3pPr marL="806450" indent="-266700" algn="l" defTabSz="1346200" rtl="0" eaLnBrk="1" latinLnBrk="0" hangingPunct="1">
              <a:lnSpc>
                <a:spcPts val="1400"/>
              </a:lnSpc>
              <a:spcBef>
                <a:spcPts val="500"/>
              </a:spcBef>
              <a:spcAft>
                <a:spcPts val="500"/>
              </a:spcAft>
              <a:buClr>
                <a:schemeClr val="accent2"/>
              </a:buClr>
              <a:buFont typeface="Segoe UI Light" panose="020B0502040204020203" pitchFamily="34" charset="0"/>
              <a:buChar char="–"/>
              <a:tabLst/>
              <a:defRPr sz="1200" kern="1200">
                <a:solidFill>
                  <a:schemeClr val="accent2"/>
                </a:solidFill>
                <a:latin typeface="+mn-lt"/>
                <a:ea typeface="+mn-ea"/>
                <a:cs typeface="+mn-cs"/>
              </a:defRPr>
            </a:lvl3pPr>
            <a:lvl4pPr marL="0" indent="0" algn="l" defTabSz="914400" rtl="0" eaLnBrk="1" latinLnBrk="0" hangingPunct="1">
              <a:lnSpc>
                <a:spcPts val="1400"/>
              </a:lnSpc>
              <a:spcBef>
                <a:spcPts val="500"/>
              </a:spcBef>
              <a:spcAft>
                <a:spcPts val="500"/>
              </a:spcAft>
              <a:buFont typeface="Arial" panose="020B0604020202020204" pitchFamily="34" charset="0"/>
              <a:buNone/>
              <a:defRPr sz="1400" kern="1200">
                <a:solidFill>
                  <a:schemeClr val="accent2"/>
                </a:solidFill>
                <a:latin typeface="+mn-lt"/>
                <a:ea typeface="+mn-ea"/>
                <a:cs typeface="+mn-cs"/>
              </a:defRPr>
            </a:lvl4pPr>
            <a:lvl5pPr marL="0" indent="0" algn="l" defTabSz="914400" rtl="0" eaLnBrk="1" latinLnBrk="0" hangingPunct="1">
              <a:lnSpc>
                <a:spcPts val="1400"/>
              </a:lnSpc>
              <a:spcBef>
                <a:spcPts val="500"/>
              </a:spcBef>
              <a:spcAft>
                <a:spcPts val="500"/>
              </a:spcAft>
              <a:buFont typeface="Arial" panose="020B0604020202020204" pitchFamily="34" charset="0"/>
              <a:buNone/>
              <a:defRPr sz="1400" b="1" kern="1200">
                <a:solidFill>
                  <a:schemeClr val="accent1"/>
                </a:solidFill>
                <a:latin typeface="+mj-lt"/>
                <a:ea typeface="+mn-ea"/>
                <a:cs typeface="+mn-cs"/>
              </a:defRPr>
            </a:lvl5pPr>
            <a:lvl6pPr marL="0" indent="0" algn="l" defTabSz="914400" rtl="0" eaLnBrk="1" latinLnBrk="0" hangingPunct="1">
              <a:lnSpc>
                <a:spcPts val="1400"/>
              </a:lnSpc>
              <a:spcBef>
                <a:spcPts val="500"/>
              </a:spcBef>
              <a:spcAft>
                <a:spcPts val="500"/>
              </a:spcAft>
              <a:buClr>
                <a:schemeClr val="accent1"/>
              </a:buClr>
              <a:buFont typeface="Arial" panose="020B0604020202020204" pitchFamily="34" charset="0"/>
              <a:buNone/>
              <a:defRPr sz="1600" b="1" kern="1200" cap="none" baseline="0">
                <a:solidFill>
                  <a:schemeClr val="accent2"/>
                </a:solidFill>
                <a:latin typeface="+mj-lt"/>
                <a:ea typeface="+mn-ea"/>
                <a:cs typeface="+mn-cs"/>
              </a:defRPr>
            </a:lvl6pPr>
            <a:lvl7pPr marL="268288" indent="-268288" algn="l" defTabSz="914400" rtl="0" eaLnBrk="1" latinLnBrk="0" hangingPunct="1">
              <a:lnSpc>
                <a:spcPts val="1400"/>
              </a:lnSpc>
              <a:spcBef>
                <a:spcPts val="500"/>
              </a:spcBef>
              <a:spcAft>
                <a:spcPts val="500"/>
              </a:spcAft>
              <a:buClr>
                <a:schemeClr val="accent2"/>
              </a:buClr>
              <a:buFont typeface="+mj-lt"/>
              <a:buAutoNum type="arabicPeriod"/>
              <a:tabLst/>
              <a:defRPr sz="1400" kern="1200">
                <a:solidFill>
                  <a:schemeClr val="accent2"/>
                </a:solidFill>
                <a:latin typeface="+mn-lt"/>
                <a:ea typeface="+mn-ea"/>
                <a:cs typeface="+mn-cs"/>
              </a:defRPr>
            </a:lvl7pPr>
            <a:lvl8pPr marL="536575" indent="-268288" algn="l" defTabSz="914400" rtl="0" eaLnBrk="1" latinLnBrk="0" hangingPunct="1">
              <a:lnSpc>
                <a:spcPts val="1400"/>
              </a:lnSpc>
              <a:spcBef>
                <a:spcPts val="500"/>
              </a:spcBef>
              <a:spcAft>
                <a:spcPts val="500"/>
              </a:spcAft>
              <a:buClr>
                <a:schemeClr val="accent2"/>
              </a:buClr>
              <a:buFont typeface="+mj-lt"/>
              <a:buAutoNum type="alphaLcPeriod"/>
              <a:defRPr sz="1200" kern="1200">
                <a:solidFill>
                  <a:schemeClr val="accent2"/>
                </a:solidFill>
                <a:latin typeface="+mn-lt"/>
                <a:ea typeface="+mn-ea"/>
                <a:cs typeface="+mn-cs"/>
              </a:defRPr>
            </a:lvl8pPr>
            <a:lvl9pPr marL="0" indent="0" algn="l" defTabSz="914400" rtl="0" eaLnBrk="1" latinLnBrk="0" hangingPunct="1">
              <a:lnSpc>
                <a:spcPts val="1400"/>
              </a:lnSpc>
              <a:spcBef>
                <a:spcPts val="500"/>
              </a:spcBef>
              <a:spcAft>
                <a:spcPts val="500"/>
              </a:spcAft>
              <a:buClr>
                <a:schemeClr val="accent1"/>
              </a:buClr>
              <a:buFont typeface="Arial" panose="020B0604020202020204" pitchFamily="34" charset="0"/>
              <a:buNone/>
              <a:defRPr sz="1200" i="1" kern="1200">
                <a:solidFill>
                  <a:schemeClr val="tx2"/>
                </a:solidFill>
                <a:latin typeface="+mn-lt"/>
                <a:ea typeface="+mn-ea"/>
                <a:cs typeface="+mn-cs"/>
              </a:defRPr>
            </a:lvl9pPr>
          </a:lstStyle>
          <a:p>
            <a:r>
              <a:rPr lang="en-US" sz="1100" b="1" kern="100" dirty="0">
                <a:effectLst/>
                <a:latin typeface="+mj-lt"/>
                <a:ea typeface="Aptos" panose="020B0004020202020204" pitchFamily="34" charset="0"/>
                <a:cs typeface="Times New Roman"/>
              </a:rPr>
              <a:t>Tooling</a:t>
            </a:r>
          </a:p>
          <a:p>
            <a:pPr marL="171450" indent="-171450">
              <a:buFont typeface="Arial" panose="020B0604020202020204" pitchFamily="34" charset="0"/>
              <a:buChar char="•"/>
            </a:pPr>
            <a:r>
              <a:rPr lang="en-US" sz="1100" i="1" dirty="0">
                <a:latin typeface="+mj-lt"/>
              </a:rPr>
              <a:t>EBX is corporate data management solution.</a:t>
            </a:r>
            <a:endParaRPr lang="en-US" sz="1100" b="0" i="1" dirty="0">
              <a:effectLst/>
              <a:latin typeface="+mj-lt"/>
              <a:cs typeface="Arial"/>
            </a:endParaRPr>
          </a:p>
          <a:p>
            <a:pPr>
              <a:buFont typeface="Arial" panose="020B0604020202020204" pitchFamily="34" charset="0"/>
            </a:pPr>
            <a:r>
              <a:rPr lang="en-US" sz="1100" b="1" dirty="0">
                <a:latin typeface="+mj-lt"/>
                <a:cs typeface="Arial"/>
              </a:rPr>
              <a:t>Organization</a:t>
            </a:r>
            <a:endParaRPr lang="en-US" sz="1100" b="1" i="1" dirty="0">
              <a:latin typeface="+mj-lt"/>
              <a:cs typeface="Arial"/>
            </a:endParaRPr>
          </a:p>
          <a:p>
            <a:pPr marL="171450" indent="-171450">
              <a:buFont typeface="Arial" panose="020B0604020202020204" pitchFamily="34" charset="0"/>
              <a:buChar char="•"/>
            </a:pPr>
            <a:r>
              <a:rPr lang="en-US" sz="1100" i="1" dirty="0">
                <a:latin typeface="+mj-lt"/>
                <a:cs typeface="Arial"/>
              </a:rPr>
              <a:t>centralized data management where focus is placed on improving data quality and processes. </a:t>
            </a:r>
            <a:br>
              <a:rPr lang="en-US" sz="1100" i="1" dirty="0">
                <a:latin typeface="+mj-lt"/>
                <a:cs typeface="Arial"/>
              </a:rPr>
            </a:br>
            <a:r>
              <a:rPr lang="en-US" sz="1100" i="1" dirty="0">
                <a:latin typeface="+mj-lt"/>
                <a:cs typeface="Arial"/>
              </a:rPr>
              <a:t>But the ownership, authorship and stewardship can be managed federative by each business or domain within the company. Depending on choice you can also decide to govern centrally.</a:t>
            </a:r>
          </a:p>
          <a:p>
            <a:r>
              <a:rPr lang="en-US" sz="1100" b="1" dirty="0">
                <a:latin typeface="+mj-lt"/>
                <a:cs typeface="Segoe UI"/>
              </a:rPr>
              <a:t>Roles and responsibilities</a:t>
            </a:r>
            <a:endParaRPr lang="en-US" sz="1100" dirty="0">
              <a:latin typeface="+mj-lt"/>
              <a:cs typeface="Segoe UI"/>
            </a:endParaRPr>
          </a:p>
          <a:p>
            <a:pPr marL="171450" indent="-171450">
              <a:buFont typeface="Arial" panose="020B0604020202020204" pitchFamily="34" charset="0"/>
              <a:buChar char="•"/>
            </a:pPr>
            <a:r>
              <a:rPr lang="en-US" sz="1100" i="1" dirty="0">
                <a:latin typeface="+mj-lt"/>
                <a:cs typeface="Arial"/>
              </a:rPr>
              <a:t>There are four categories of roles which are required for master data management:</a:t>
            </a:r>
            <a:br>
              <a:rPr lang="en-US" sz="1100" i="1" dirty="0">
                <a:latin typeface="+mj-lt"/>
                <a:cs typeface="Arial"/>
              </a:rPr>
            </a:br>
            <a:r>
              <a:rPr lang="en-US" sz="1100" i="1" dirty="0">
                <a:latin typeface="+mj-lt"/>
                <a:cs typeface="Arial"/>
              </a:rPr>
              <a:t>Authorship, Ownership, Enabling, Mandate.</a:t>
            </a:r>
            <a:br>
              <a:rPr lang="en-US" sz="1100" i="1" dirty="0">
                <a:latin typeface="+mj-lt"/>
                <a:cs typeface="Arial"/>
              </a:rPr>
            </a:br>
            <a:r>
              <a:rPr lang="en-US" sz="1100" i="1" dirty="0">
                <a:latin typeface="+mj-lt"/>
                <a:cs typeface="Arial"/>
              </a:rPr>
              <a:t>A specific list of the roles and responsibilities can be found in ‘Target Architecture MDM’. </a:t>
            </a:r>
            <a:endParaRPr lang="en-US" sz="1100" b="1" i="1" dirty="0">
              <a:latin typeface="+mj-lt"/>
              <a:ea typeface="Aptos" panose="020B0004020202020204" pitchFamily="34" charset="0"/>
              <a:cs typeface="Times New Roman" panose="02020603050405020304" pitchFamily="18" charset="0"/>
            </a:endParaRPr>
          </a:p>
          <a:p>
            <a:pPr lvl="0"/>
            <a:r>
              <a:rPr lang="en-US" sz="1100" b="1" kern="100" dirty="0">
                <a:effectLst/>
                <a:latin typeface="+mj-lt"/>
                <a:ea typeface="Aptos" panose="020B0004020202020204" pitchFamily="34" charset="0"/>
                <a:cs typeface="Times New Roman"/>
              </a:rPr>
              <a:t>Challenges, Solutions and roadmap to the future</a:t>
            </a:r>
          </a:p>
          <a:p>
            <a:pPr marL="171450" indent="-171450">
              <a:buFont typeface="Arial" panose="020B0604020202020204" pitchFamily="34" charset="0"/>
              <a:buChar char="•"/>
            </a:pPr>
            <a:r>
              <a:rPr lang="en-US" sz="1100" b="0" i="1" dirty="0">
                <a:effectLst/>
                <a:latin typeface="+mj-lt"/>
              </a:rPr>
              <a:t>Outline any known challenges and how they are addressed or mitigated.</a:t>
            </a:r>
          </a:p>
          <a:p>
            <a:pPr marL="171450" indent="-171450">
              <a:buFont typeface="Arial" panose="020B0604020202020204" pitchFamily="34" charset="0"/>
              <a:buChar char="•"/>
            </a:pPr>
            <a:r>
              <a:rPr lang="en-US" sz="1100" b="0" i="1" dirty="0">
                <a:effectLst/>
                <a:latin typeface="+mj-lt"/>
              </a:rPr>
              <a:t>Briefly describe the expected evolution of this capability over the next 5 years.</a:t>
            </a:r>
            <a:endParaRPr lang="en-US" sz="1100" b="0" i="0" dirty="0">
              <a:effectLst/>
              <a:latin typeface="+mj-lt"/>
            </a:endParaRPr>
          </a:p>
          <a:p>
            <a:pPr lvl="0">
              <a:buFont typeface="Arial" panose="020B0604020202020204" pitchFamily="34" charset="0"/>
            </a:pPr>
            <a:endParaRPr lang="en-US" sz="1100" i="1" dirty="0">
              <a:effectLst/>
              <a:latin typeface="+mj-lt"/>
              <a:ea typeface="Aptos" panose="020B0004020202020204" pitchFamily="34" charset="0"/>
              <a:cs typeface="Times New Roman" panose="02020603050405020304" pitchFamily="18" charset="0"/>
            </a:endParaRPr>
          </a:p>
          <a:p>
            <a:endParaRPr lang="en-US" sz="1100" b="1" kern="100" dirty="0">
              <a:latin typeface="+mj-lt"/>
              <a:ea typeface="Aptos" panose="020B0004020202020204" pitchFamily="34" charset="0"/>
              <a:cs typeface="Times New Roman" panose="02020603050405020304" pitchFamily="18" charset="0"/>
            </a:endParaRPr>
          </a:p>
          <a:p>
            <a:endParaRPr lang="en-US" sz="1100" kern="100" dirty="0">
              <a:latin typeface="+mj-lt"/>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418061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823726-65EF-A5CA-AA5D-F211B298DE4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062989D-34B5-B10D-CFA6-DD9AB260092D}"/>
              </a:ext>
            </a:extLst>
          </p:cNvPr>
          <p:cNvSpPr>
            <a:spLocks noGrp="1"/>
          </p:cNvSpPr>
          <p:nvPr>
            <p:ph type="title"/>
          </p:nvPr>
        </p:nvSpPr>
        <p:spPr>
          <a:xfrm>
            <a:off x="719999" y="360000"/>
            <a:ext cx="10753200" cy="443198"/>
          </a:xfrm>
        </p:spPr>
        <p:txBody>
          <a:bodyPr/>
          <a:lstStyle/>
          <a:p>
            <a:r>
              <a:rPr lang="en-US" dirty="0"/>
              <a:t>Capability overview: metadata management</a:t>
            </a:r>
            <a:endParaRPr lang="nl-NL" dirty="0"/>
          </a:p>
        </p:txBody>
      </p:sp>
      <p:sp>
        <p:nvSpPr>
          <p:cNvPr id="3" name="Tijdelijke aanduiding voor dianummer 2">
            <a:extLst>
              <a:ext uri="{FF2B5EF4-FFF2-40B4-BE49-F238E27FC236}">
                <a16:creationId xmlns:a16="http://schemas.microsoft.com/office/drawing/2014/main" id="{19E82B77-D8A1-6EBA-00D9-EC7855DD6643}"/>
              </a:ext>
            </a:extLst>
          </p:cNvPr>
          <p:cNvSpPr>
            <a:spLocks noGrp="1"/>
          </p:cNvSpPr>
          <p:nvPr>
            <p:ph type="sldNum" sz="quarter" idx="20"/>
          </p:nvPr>
        </p:nvSpPr>
        <p:spPr/>
        <p:txBody>
          <a:bodyPr/>
          <a:lstStyle/>
          <a:p>
            <a:fld id="{9E843DB9-9987-4157-AB9C-CEA8D7D910BB}" type="slidenum">
              <a:rPr lang="en-US" smtClean="0"/>
              <a:pPr/>
              <a:t>5</a:t>
            </a:fld>
            <a:endParaRPr lang="en-US" dirty="0"/>
          </a:p>
        </p:txBody>
      </p:sp>
      <p:sp>
        <p:nvSpPr>
          <p:cNvPr id="4" name="Tijdelijke aanduiding voor tekst 3">
            <a:extLst>
              <a:ext uri="{FF2B5EF4-FFF2-40B4-BE49-F238E27FC236}">
                <a16:creationId xmlns:a16="http://schemas.microsoft.com/office/drawing/2014/main" id="{D7913C27-08DC-02FF-73C5-C8BC8A000F63}"/>
              </a:ext>
            </a:extLst>
          </p:cNvPr>
          <p:cNvSpPr>
            <a:spLocks noGrp="1"/>
          </p:cNvSpPr>
          <p:nvPr>
            <p:ph type="body" sz="quarter" idx="21"/>
          </p:nvPr>
        </p:nvSpPr>
        <p:spPr>
          <a:xfrm>
            <a:off x="719139" y="1327341"/>
            <a:ext cx="4462461" cy="4567762"/>
          </a:xfrm>
        </p:spPr>
        <p:txBody>
          <a:bodyPr vert="horz" lIns="0" tIns="0" rIns="0" bIns="0" rtlCol="0" anchor="t">
            <a:noAutofit/>
          </a:bodyPr>
          <a:lstStyle/>
          <a:p>
            <a:pPr marL="0" indent="0">
              <a:buNone/>
            </a:pPr>
            <a:r>
              <a:rPr lang="en-US" sz="1100" b="1" dirty="0">
                <a:latin typeface="+mj-lt"/>
                <a:cs typeface="Arial"/>
              </a:rPr>
              <a:t>Definition</a:t>
            </a:r>
          </a:p>
          <a:p>
            <a:pPr marL="0" indent="0">
              <a:buNone/>
            </a:pPr>
            <a:r>
              <a:rPr lang="en-US" sz="1100" dirty="0">
                <a:solidFill>
                  <a:srgbClr val="000000"/>
                </a:solidFill>
                <a:ea typeface="+mn-lt"/>
                <a:cs typeface="+mn-lt"/>
              </a:rPr>
              <a:t>Managing all data that classifies and describes the data. Metadata can be used to make the data understandable, ready for integration</a:t>
            </a:r>
            <a:r>
              <a:rPr lang="en-US" sz="1100" b="0" dirty="0">
                <a:solidFill>
                  <a:srgbClr val="000000"/>
                </a:solidFill>
                <a:effectLst/>
                <a:ea typeface="+mn-lt"/>
                <a:cs typeface="+mn-lt"/>
              </a:rPr>
              <a:t>, </a:t>
            </a:r>
            <a:r>
              <a:rPr lang="en-US" sz="1100" dirty="0">
                <a:solidFill>
                  <a:srgbClr val="000000"/>
                </a:solidFill>
                <a:ea typeface="+mn-lt"/>
                <a:cs typeface="+mn-lt"/>
              </a:rPr>
              <a:t>and secure. It can also be used to ensure the quality of data. The way to match supply and demand.</a:t>
            </a:r>
            <a:endParaRPr lang="en-US" dirty="0">
              <a:ea typeface="+mn-lt"/>
              <a:cs typeface="+mn-lt"/>
            </a:endParaRPr>
          </a:p>
          <a:p>
            <a:pPr marL="0" indent="0">
              <a:buNone/>
            </a:pPr>
            <a:r>
              <a:rPr lang="en-US" sz="1100" b="1" dirty="0">
                <a:latin typeface="+mj-lt"/>
                <a:cs typeface="Arial"/>
              </a:rPr>
              <a:t>Business relevance /drivers</a:t>
            </a:r>
            <a:endParaRPr lang="en-US" sz="1100" dirty="0">
              <a:solidFill>
                <a:srgbClr val="000000"/>
              </a:solidFill>
              <a:latin typeface="+mj-lt"/>
              <a:cs typeface="Arial"/>
            </a:endParaRPr>
          </a:p>
          <a:p>
            <a:pPr marL="0" indent="0">
              <a:buNone/>
            </a:pPr>
            <a:r>
              <a:rPr lang="en-US" sz="1100" dirty="0">
                <a:ea typeface="+mn-lt"/>
                <a:cs typeface="+mn-lt"/>
              </a:rPr>
              <a:t>Metadata management is like a library card for data. Imagine you have a huge stack of books. The card in the library tells you where each book is and how to find it. Metadata does something similar for data. It helps people understand what kind of data we have, where it comes from, how it's made, and how it should be used. It also determines whether the book actually exists and whether you can take the book with you at all.</a:t>
            </a:r>
            <a:endParaRPr lang="en-US" dirty="0">
              <a:latin typeface="+mj-lt"/>
              <a:ea typeface="Aptos" panose="020B0004020202020204" pitchFamily="34" charset="0"/>
              <a:cs typeface="Arial"/>
            </a:endParaRPr>
          </a:p>
          <a:p>
            <a:pPr marL="0" indent="0">
              <a:buNone/>
            </a:pPr>
            <a:r>
              <a:rPr lang="en-US" sz="1100" b="1" dirty="0">
                <a:latin typeface="+mj-lt"/>
                <a:cs typeface="Arial"/>
              </a:rPr>
              <a:t>Activities</a:t>
            </a:r>
            <a:endParaRPr lang="en-US" sz="1100" dirty="0">
              <a:solidFill>
                <a:srgbClr val="000000"/>
              </a:solidFill>
              <a:latin typeface="+mj-lt"/>
              <a:cs typeface="Arial"/>
            </a:endParaRPr>
          </a:p>
          <a:p>
            <a:pPr marL="0" indent="0">
              <a:buNone/>
            </a:pPr>
            <a:r>
              <a:rPr lang="en-US" sz="1100" dirty="0">
                <a:ea typeface="+mn-lt"/>
                <a:cs typeface="+mn-lt"/>
              </a:rPr>
              <a:t>The metadata capability includes several high level activities:</a:t>
            </a:r>
            <a:endParaRPr lang="en-US" dirty="0"/>
          </a:p>
          <a:p>
            <a:pPr marL="285750" indent="-285750">
              <a:spcAft>
                <a:spcPts val="100"/>
              </a:spcAft>
              <a:buFont typeface="Calibri,Sans-Serif"/>
              <a:buChar char="-"/>
            </a:pPr>
            <a:r>
              <a:rPr lang="en-US" sz="1100" dirty="0">
                <a:latin typeface="+mj-lt"/>
                <a:cs typeface="Arial"/>
              </a:rPr>
              <a:t>Define the metadata strategy</a:t>
            </a:r>
            <a:endParaRPr lang="en-US" sz="1100" dirty="0">
              <a:solidFill>
                <a:srgbClr val="000000"/>
              </a:solidFill>
              <a:latin typeface="+mj-lt"/>
              <a:cs typeface="Arial"/>
            </a:endParaRPr>
          </a:p>
          <a:p>
            <a:pPr marL="285750" indent="-285750">
              <a:spcAft>
                <a:spcPts val="100"/>
              </a:spcAft>
              <a:buFont typeface="Calibri,Sans-Serif"/>
              <a:buChar char="-"/>
            </a:pPr>
            <a:r>
              <a:rPr lang="en-US" sz="1100" dirty="0">
                <a:latin typeface="+mj-lt"/>
                <a:cs typeface="Arial"/>
              </a:rPr>
              <a:t>Understand the metadata requirements</a:t>
            </a:r>
            <a:endParaRPr lang="en-US" sz="1100" dirty="0">
              <a:solidFill>
                <a:srgbClr val="000000"/>
              </a:solidFill>
              <a:latin typeface="+mj-lt"/>
              <a:cs typeface="Arial"/>
            </a:endParaRPr>
          </a:p>
          <a:p>
            <a:pPr marL="285750" indent="-285750">
              <a:spcAft>
                <a:spcPts val="100"/>
              </a:spcAft>
              <a:buFont typeface="Calibri,Sans-Serif"/>
              <a:buChar char="-"/>
            </a:pPr>
            <a:r>
              <a:rPr lang="en-US" sz="1100" dirty="0">
                <a:latin typeface="+mj-lt"/>
                <a:cs typeface="Arial"/>
              </a:rPr>
              <a:t>Define the metadata architecture</a:t>
            </a:r>
            <a:endParaRPr lang="en-US" sz="1100" dirty="0">
              <a:solidFill>
                <a:srgbClr val="000000"/>
              </a:solidFill>
              <a:latin typeface="+mj-lt"/>
              <a:cs typeface="Arial"/>
            </a:endParaRPr>
          </a:p>
          <a:p>
            <a:pPr marL="285750" indent="-285750">
              <a:spcAft>
                <a:spcPts val="100"/>
              </a:spcAft>
              <a:buFont typeface="Calibri,Sans-Serif"/>
              <a:buChar char="-"/>
            </a:pPr>
            <a:r>
              <a:rPr lang="en-US" sz="1100" dirty="0">
                <a:latin typeface="+mj-lt"/>
                <a:cs typeface="Arial"/>
              </a:rPr>
              <a:t>Create and maintain metadata</a:t>
            </a:r>
            <a:endParaRPr lang="en-US" sz="1100" dirty="0">
              <a:solidFill>
                <a:srgbClr val="000000"/>
              </a:solidFill>
              <a:latin typeface="+mj-lt"/>
              <a:cs typeface="Arial"/>
            </a:endParaRPr>
          </a:p>
          <a:p>
            <a:pPr marL="285750" indent="-285750">
              <a:spcAft>
                <a:spcPts val="100"/>
              </a:spcAft>
              <a:buFont typeface="Calibri,Sans-Serif"/>
              <a:buChar char="-"/>
            </a:pPr>
            <a:r>
              <a:rPr lang="en-US" sz="1100" dirty="0">
                <a:latin typeface="+mj-lt"/>
                <a:cs typeface="Arial"/>
              </a:rPr>
              <a:t>Query, report and analyze metadata</a:t>
            </a:r>
          </a:p>
          <a:p>
            <a:pPr marL="0" indent="0">
              <a:lnSpc>
                <a:spcPts val="1400"/>
              </a:lnSpc>
              <a:buNone/>
            </a:pPr>
            <a:r>
              <a:rPr lang="en-US" sz="1100" b="1" dirty="0">
                <a:cs typeface="Arial"/>
              </a:rPr>
              <a:t>Organization</a:t>
            </a:r>
            <a:endParaRPr lang="en-US" sz="1100" dirty="0">
              <a:solidFill>
                <a:srgbClr val="000000"/>
              </a:solidFill>
              <a:cs typeface="Arial"/>
            </a:endParaRPr>
          </a:p>
          <a:p>
            <a:pPr marL="0" indent="0">
              <a:lnSpc>
                <a:spcPts val="1400"/>
              </a:lnSpc>
              <a:buNone/>
            </a:pPr>
            <a:r>
              <a:rPr lang="en-US" sz="1100" dirty="0">
                <a:cs typeface="Arial"/>
              </a:rPr>
              <a:t>Of all mentioned activities the creation and </a:t>
            </a:r>
            <a:r>
              <a:rPr lang="en-US" sz="1100" dirty="0" err="1">
                <a:cs typeface="Arial"/>
              </a:rPr>
              <a:t>maintance</a:t>
            </a:r>
            <a:r>
              <a:rPr lang="en-US" sz="1100" dirty="0">
                <a:cs typeface="Arial"/>
              </a:rPr>
              <a:t> of metadata will be federated further to the domain teams. Analyzing, querying and reporting on metadata can be down throughout the organization, both in central and in federated roles. The other activities will take place within the central organization.</a:t>
            </a:r>
            <a:endParaRPr lang="en-US" dirty="0"/>
          </a:p>
        </p:txBody>
      </p:sp>
      <p:sp>
        <p:nvSpPr>
          <p:cNvPr id="5" name="Tijdelijke aanduiding voor tekst 4">
            <a:extLst>
              <a:ext uri="{FF2B5EF4-FFF2-40B4-BE49-F238E27FC236}">
                <a16:creationId xmlns:a16="http://schemas.microsoft.com/office/drawing/2014/main" id="{E21783BB-776B-DE09-0F30-71B103160F13}"/>
              </a:ext>
            </a:extLst>
          </p:cNvPr>
          <p:cNvSpPr>
            <a:spLocks noGrp="1"/>
          </p:cNvSpPr>
          <p:nvPr>
            <p:ph type="body" sz="quarter" idx="25"/>
          </p:nvPr>
        </p:nvSpPr>
        <p:spPr/>
        <p:txBody>
          <a:bodyPr vert="horz" lIns="0" tIns="0" rIns="0" bIns="0" rtlCol="0" anchor="t">
            <a:noAutofit/>
          </a:bodyPr>
          <a:lstStyle/>
          <a:p>
            <a:r>
              <a:rPr lang="en-US" dirty="0">
                <a:cs typeface="Arial"/>
              </a:rPr>
              <a:t>Versie 0.x</a:t>
            </a:r>
          </a:p>
        </p:txBody>
      </p:sp>
      <p:sp>
        <p:nvSpPr>
          <p:cNvPr id="6" name="Tijdelijke aanduiding voor tekst 3">
            <a:extLst>
              <a:ext uri="{FF2B5EF4-FFF2-40B4-BE49-F238E27FC236}">
                <a16:creationId xmlns:a16="http://schemas.microsoft.com/office/drawing/2014/main" id="{4F7CEAFE-0D3D-D63C-2046-2F81E3A7BFC0}"/>
              </a:ext>
            </a:extLst>
          </p:cNvPr>
          <p:cNvSpPr txBox="1">
            <a:spLocks/>
          </p:cNvSpPr>
          <p:nvPr/>
        </p:nvSpPr>
        <p:spPr>
          <a:xfrm>
            <a:off x="5913689" y="1387316"/>
            <a:ext cx="5836480" cy="5395239"/>
          </a:xfrm>
          <a:prstGeom prst="rect">
            <a:avLst/>
          </a:prstGeom>
        </p:spPr>
        <p:txBody>
          <a:bodyPr vert="horz" lIns="0" tIns="0" rIns="0" bIns="0" rtlCol="0" anchor="t">
            <a:noAutofit/>
          </a:bodyPr>
          <a:lstStyle>
            <a:lvl1pPr marL="0" indent="0" algn="l" defTabSz="914400" rtl="0" eaLnBrk="1" latinLnBrk="0" hangingPunct="1">
              <a:lnSpc>
                <a:spcPts val="1400"/>
              </a:lnSpc>
              <a:spcBef>
                <a:spcPts val="500"/>
              </a:spcBef>
              <a:spcAft>
                <a:spcPts val="500"/>
              </a:spcAft>
              <a:buClr>
                <a:schemeClr val="accent2"/>
              </a:buClr>
              <a:buFontTx/>
              <a:buNone/>
              <a:defRPr sz="1400" kern="1200">
                <a:solidFill>
                  <a:schemeClr val="accent2"/>
                </a:solidFill>
                <a:latin typeface="+mn-lt"/>
                <a:ea typeface="+mn-ea"/>
                <a:cs typeface="+mn-cs"/>
              </a:defRPr>
            </a:lvl1pPr>
            <a:lvl2pPr marL="539750" indent="-273050" algn="l" defTabSz="914400" rtl="0" eaLnBrk="1" latinLnBrk="0" hangingPunct="1">
              <a:lnSpc>
                <a:spcPts val="1400"/>
              </a:lnSpc>
              <a:spcBef>
                <a:spcPts val="500"/>
              </a:spcBef>
              <a:spcAft>
                <a:spcPts val="500"/>
              </a:spcAft>
              <a:buClr>
                <a:schemeClr val="accent2"/>
              </a:buClr>
              <a:buFont typeface="Arial" panose="020B0604020202020204" pitchFamily="34" charset="0"/>
              <a:buChar char="•"/>
              <a:tabLst/>
              <a:defRPr sz="1400" kern="1200">
                <a:solidFill>
                  <a:schemeClr val="accent2"/>
                </a:solidFill>
                <a:latin typeface="+mn-lt"/>
                <a:ea typeface="+mn-ea"/>
                <a:cs typeface="+mn-cs"/>
              </a:defRPr>
            </a:lvl2pPr>
            <a:lvl3pPr marL="806450" indent="-266700" algn="l" defTabSz="1346200" rtl="0" eaLnBrk="1" latinLnBrk="0" hangingPunct="1">
              <a:lnSpc>
                <a:spcPts val="1400"/>
              </a:lnSpc>
              <a:spcBef>
                <a:spcPts val="500"/>
              </a:spcBef>
              <a:spcAft>
                <a:spcPts val="500"/>
              </a:spcAft>
              <a:buClr>
                <a:schemeClr val="accent2"/>
              </a:buClr>
              <a:buFont typeface="Segoe UI Light" panose="020B0502040204020203" pitchFamily="34" charset="0"/>
              <a:buChar char="–"/>
              <a:tabLst/>
              <a:defRPr sz="1200" kern="1200">
                <a:solidFill>
                  <a:schemeClr val="accent2"/>
                </a:solidFill>
                <a:latin typeface="+mn-lt"/>
                <a:ea typeface="+mn-ea"/>
                <a:cs typeface="+mn-cs"/>
              </a:defRPr>
            </a:lvl3pPr>
            <a:lvl4pPr marL="0" indent="0" algn="l" defTabSz="914400" rtl="0" eaLnBrk="1" latinLnBrk="0" hangingPunct="1">
              <a:lnSpc>
                <a:spcPts val="1400"/>
              </a:lnSpc>
              <a:spcBef>
                <a:spcPts val="500"/>
              </a:spcBef>
              <a:spcAft>
                <a:spcPts val="500"/>
              </a:spcAft>
              <a:buFont typeface="Arial" panose="020B0604020202020204" pitchFamily="34" charset="0"/>
              <a:buNone/>
              <a:defRPr sz="1400" kern="1200">
                <a:solidFill>
                  <a:schemeClr val="accent2"/>
                </a:solidFill>
                <a:latin typeface="+mn-lt"/>
                <a:ea typeface="+mn-ea"/>
                <a:cs typeface="+mn-cs"/>
              </a:defRPr>
            </a:lvl4pPr>
            <a:lvl5pPr marL="0" indent="0" algn="l" defTabSz="914400" rtl="0" eaLnBrk="1" latinLnBrk="0" hangingPunct="1">
              <a:lnSpc>
                <a:spcPts val="1400"/>
              </a:lnSpc>
              <a:spcBef>
                <a:spcPts val="500"/>
              </a:spcBef>
              <a:spcAft>
                <a:spcPts val="500"/>
              </a:spcAft>
              <a:buFont typeface="Arial" panose="020B0604020202020204" pitchFamily="34" charset="0"/>
              <a:buNone/>
              <a:defRPr sz="1400" b="1" kern="1200">
                <a:solidFill>
                  <a:schemeClr val="accent1"/>
                </a:solidFill>
                <a:latin typeface="+mj-lt"/>
                <a:ea typeface="+mn-ea"/>
                <a:cs typeface="+mn-cs"/>
              </a:defRPr>
            </a:lvl5pPr>
            <a:lvl6pPr marL="0" indent="0" algn="l" defTabSz="914400" rtl="0" eaLnBrk="1" latinLnBrk="0" hangingPunct="1">
              <a:lnSpc>
                <a:spcPts val="1400"/>
              </a:lnSpc>
              <a:spcBef>
                <a:spcPts val="500"/>
              </a:spcBef>
              <a:spcAft>
                <a:spcPts val="500"/>
              </a:spcAft>
              <a:buClr>
                <a:schemeClr val="accent1"/>
              </a:buClr>
              <a:buFont typeface="Arial" panose="020B0604020202020204" pitchFamily="34" charset="0"/>
              <a:buNone/>
              <a:defRPr sz="1600" b="1" kern="1200" cap="none" baseline="0">
                <a:solidFill>
                  <a:schemeClr val="accent2"/>
                </a:solidFill>
                <a:latin typeface="+mj-lt"/>
                <a:ea typeface="+mn-ea"/>
                <a:cs typeface="+mn-cs"/>
              </a:defRPr>
            </a:lvl6pPr>
            <a:lvl7pPr marL="268288" indent="-268288" algn="l" defTabSz="914400" rtl="0" eaLnBrk="1" latinLnBrk="0" hangingPunct="1">
              <a:lnSpc>
                <a:spcPts val="1400"/>
              </a:lnSpc>
              <a:spcBef>
                <a:spcPts val="500"/>
              </a:spcBef>
              <a:spcAft>
                <a:spcPts val="500"/>
              </a:spcAft>
              <a:buClr>
                <a:schemeClr val="accent2"/>
              </a:buClr>
              <a:buFont typeface="+mj-lt"/>
              <a:buAutoNum type="arabicPeriod"/>
              <a:tabLst/>
              <a:defRPr sz="1400" kern="1200">
                <a:solidFill>
                  <a:schemeClr val="accent2"/>
                </a:solidFill>
                <a:latin typeface="+mn-lt"/>
                <a:ea typeface="+mn-ea"/>
                <a:cs typeface="+mn-cs"/>
              </a:defRPr>
            </a:lvl7pPr>
            <a:lvl8pPr marL="536575" indent="-268288" algn="l" defTabSz="914400" rtl="0" eaLnBrk="1" latinLnBrk="0" hangingPunct="1">
              <a:lnSpc>
                <a:spcPts val="1400"/>
              </a:lnSpc>
              <a:spcBef>
                <a:spcPts val="500"/>
              </a:spcBef>
              <a:spcAft>
                <a:spcPts val="500"/>
              </a:spcAft>
              <a:buClr>
                <a:schemeClr val="accent2"/>
              </a:buClr>
              <a:buFont typeface="+mj-lt"/>
              <a:buAutoNum type="alphaLcPeriod"/>
              <a:defRPr sz="1200" kern="1200">
                <a:solidFill>
                  <a:schemeClr val="accent2"/>
                </a:solidFill>
                <a:latin typeface="+mn-lt"/>
                <a:ea typeface="+mn-ea"/>
                <a:cs typeface="+mn-cs"/>
              </a:defRPr>
            </a:lvl8pPr>
            <a:lvl9pPr marL="0" indent="0" algn="l" defTabSz="914400" rtl="0" eaLnBrk="1" latinLnBrk="0" hangingPunct="1">
              <a:lnSpc>
                <a:spcPts val="1400"/>
              </a:lnSpc>
              <a:spcBef>
                <a:spcPts val="500"/>
              </a:spcBef>
              <a:spcAft>
                <a:spcPts val="500"/>
              </a:spcAft>
              <a:buClr>
                <a:schemeClr val="accent1"/>
              </a:buClr>
              <a:buFont typeface="Arial" panose="020B0604020202020204" pitchFamily="34" charset="0"/>
              <a:buNone/>
              <a:defRPr sz="1200" i="1" kern="1200">
                <a:solidFill>
                  <a:schemeClr val="tx2"/>
                </a:solidFill>
                <a:latin typeface="+mn-lt"/>
                <a:ea typeface="+mn-ea"/>
                <a:cs typeface="+mn-cs"/>
              </a:defRPr>
            </a:lvl9pPr>
          </a:lstStyle>
          <a:p>
            <a:r>
              <a:rPr lang="en-US" sz="1100" b="1" dirty="0">
                <a:latin typeface="+mj-lt"/>
                <a:cs typeface="Segoe UI"/>
              </a:rPr>
              <a:t>Roles and responsibilities</a:t>
            </a:r>
            <a:endParaRPr lang="en-US" sz="1100" dirty="0">
              <a:latin typeface="+mj-lt"/>
              <a:cs typeface="Segoe UI"/>
            </a:endParaRPr>
          </a:p>
          <a:p>
            <a:r>
              <a:rPr lang="en-US" sz="1100" dirty="0">
                <a:latin typeface="+mj-lt"/>
                <a:cs typeface="Arial"/>
              </a:rPr>
              <a:t>Metadata activities require a variety of capabilities within the Data Management Collaboration Zone/Core Team and within the Data Teams itself. A more extensive overview of roles and </a:t>
            </a:r>
            <a:r>
              <a:rPr lang="en-US" sz="1100" dirty="0" err="1">
                <a:latin typeface="+mj-lt"/>
                <a:cs typeface="Arial"/>
              </a:rPr>
              <a:t>responsibilites</a:t>
            </a:r>
            <a:r>
              <a:rPr lang="en-US" sz="1100" dirty="0">
                <a:latin typeface="+mj-lt"/>
                <a:cs typeface="Arial"/>
              </a:rPr>
              <a:t> can be found here (link Excel under construction).</a:t>
            </a:r>
          </a:p>
          <a:p>
            <a:pPr>
              <a:lnSpc>
                <a:spcPct val="90000"/>
              </a:lnSpc>
            </a:pPr>
            <a:r>
              <a:rPr lang="en-US" sz="1100" b="1" dirty="0">
                <a:latin typeface="+mj-lt"/>
                <a:cs typeface="Arial"/>
              </a:rPr>
              <a:t>Standards &amp; guidelines</a:t>
            </a:r>
            <a:endParaRPr lang="en-US" sz="1100" dirty="0">
              <a:solidFill>
                <a:srgbClr val="000000"/>
              </a:solidFill>
              <a:latin typeface="+mj-lt"/>
              <a:cs typeface="Arial"/>
            </a:endParaRPr>
          </a:p>
          <a:p>
            <a:pPr>
              <a:lnSpc>
                <a:spcPct val="90000"/>
              </a:lnSpc>
            </a:pPr>
            <a:r>
              <a:rPr lang="en-US" sz="1100" dirty="0">
                <a:latin typeface="+mj-lt"/>
                <a:cs typeface="Arial"/>
              </a:rPr>
              <a:t>To facilitate a more federated approach to metadata management a recalibration on current standards and guidelines is needed, </a:t>
            </a:r>
            <a:r>
              <a:rPr lang="en-US" sz="1100" dirty="0" err="1">
                <a:latin typeface="+mj-lt"/>
                <a:cs typeface="Arial"/>
              </a:rPr>
              <a:t>f.e</a:t>
            </a:r>
            <a:r>
              <a:rPr lang="en-US" sz="1100" dirty="0">
                <a:latin typeface="+mj-lt"/>
                <a:cs typeface="Arial"/>
              </a:rPr>
              <a:t>. user guides for vertical &amp; horizontal lineage but also a renewed metadata management architecture considering federation. Trainings and workshops are in scope, </a:t>
            </a:r>
            <a:r>
              <a:rPr lang="en-US" sz="1100" dirty="0">
                <a:ea typeface="+mn-lt"/>
                <a:cs typeface="+mn-lt"/>
              </a:rPr>
              <a:t>but also walk-in hours specifically designed to share the latest developments in the catalog/marketplace. In order to better facilitate supply and demand, consideration must also be given on how to deal with a catalogue/marketplace for both products and consumers.</a:t>
            </a:r>
          </a:p>
          <a:p>
            <a:r>
              <a:rPr lang="en-US" sz="1100" b="1" dirty="0">
                <a:latin typeface="+mj-lt"/>
                <a:cs typeface="Arial"/>
              </a:rPr>
              <a:t>Tooling</a:t>
            </a:r>
            <a:endParaRPr lang="en-US" sz="1100" dirty="0">
              <a:solidFill>
                <a:srgbClr val="000000"/>
              </a:solidFill>
              <a:latin typeface="+mj-lt"/>
              <a:cs typeface="Arial"/>
            </a:endParaRPr>
          </a:p>
          <a:p>
            <a:r>
              <a:rPr lang="en-US" sz="1100" dirty="0">
                <a:latin typeface="+mj-lt"/>
                <a:cs typeface="Arial"/>
              </a:rPr>
              <a:t>Catalog or Marketplace (current solution: Collibra DIC)</a:t>
            </a:r>
            <a:endParaRPr lang="en-US" dirty="0">
              <a:cs typeface="Arial"/>
            </a:endParaRPr>
          </a:p>
          <a:p>
            <a:r>
              <a:rPr lang="en-US" sz="1100" b="1" kern="100" dirty="0">
                <a:latin typeface="+mj-lt"/>
                <a:cs typeface="Times New Roman"/>
              </a:rPr>
              <a:t>Short term roadmap</a:t>
            </a:r>
          </a:p>
          <a:p>
            <a:pPr marL="171450" indent="-171450">
              <a:buFont typeface="Wingdings"/>
              <a:buChar char="§"/>
            </a:pPr>
            <a:r>
              <a:rPr lang="en-US" sz="1100" kern="100" dirty="0">
                <a:ea typeface="+mn-lt"/>
                <a:cs typeface="+mn-lt"/>
              </a:rPr>
              <a:t>Create small successes within the E-commerce pilot teams to gain experience in capturing metadata to test the Shared Standards, Guidelines and Governance:</a:t>
            </a:r>
            <a:endParaRPr lang="en-US" sz="1100" kern="100" dirty="0">
              <a:ea typeface="+mn-lt"/>
              <a:cs typeface="Times New Roman"/>
            </a:endParaRPr>
          </a:p>
          <a:p>
            <a:pPr marL="711200" lvl="1">
              <a:buFont typeface="Courier New"/>
              <a:buChar char="o"/>
            </a:pPr>
            <a:r>
              <a:rPr lang="en-US" sz="1100" kern="100" dirty="0">
                <a:ea typeface="+mn-lt"/>
                <a:cs typeface="+mn-lt"/>
              </a:rPr>
              <a:t>Create inventory of delivered data products</a:t>
            </a:r>
            <a:endParaRPr lang="en-US" sz="1100" kern="100" dirty="0">
              <a:latin typeface="+mj-lt"/>
              <a:cs typeface="Times New Roman"/>
            </a:endParaRPr>
          </a:p>
          <a:p>
            <a:pPr marL="711200" lvl="1">
              <a:buFont typeface="Courier New"/>
              <a:buChar char="o"/>
            </a:pPr>
            <a:r>
              <a:rPr lang="en-US" sz="1100" kern="100" dirty="0">
                <a:ea typeface="+mn-lt"/>
                <a:cs typeface="+mn-lt"/>
              </a:rPr>
              <a:t>Capturing metadata of data products</a:t>
            </a:r>
            <a:endParaRPr lang="en-US" dirty="0"/>
          </a:p>
          <a:p>
            <a:pPr marL="711200" lvl="1">
              <a:buFont typeface="Courier New"/>
              <a:buChar char="o"/>
            </a:pPr>
            <a:r>
              <a:rPr lang="en-US" sz="1100" kern="100" dirty="0">
                <a:ea typeface="+mn-lt"/>
                <a:cs typeface="+mn-lt"/>
              </a:rPr>
              <a:t>Develop a way-of-work how to deal with a data marketplace/catalog for both consumers and producers</a:t>
            </a:r>
            <a:endParaRPr lang="en-US" sz="1100" kern="100" dirty="0">
              <a:latin typeface="+mj-lt"/>
              <a:cs typeface="Arial"/>
            </a:endParaRPr>
          </a:p>
          <a:p>
            <a:pPr marL="171450" indent="-171450">
              <a:buFont typeface="Wingdings"/>
              <a:buChar char="§"/>
            </a:pPr>
            <a:r>
              <a:rPr lang="en-US" sz="1100" kern="100" dirty="0">
                <a:latin typeface="+mj-lt"/>
                <a:cs typeface="Times New Roman"/>
              </a:rPr>
              <a:t>Make added value of metadata transparent with data cons</a:t>
            </a:r>
            <a:r>
              <a:rPr lang="en-US" sz="1100" kern="100" dirty="0">
                <a:solidFill>
                  <a:schemeClr val="accent1"/>
                </a:solidFill>
                <a:latin typeface="+mj-lt"/>
                <a:cs typeface="Times New Roman"/>
              </a:rPr>
              <a:t>um</a:t>
            </a:r>
            <a:r>
              <a:rPr lang="en-US" sz="1100" kern="100" dirty="0">
                <a:latin typeface="+mj-lt"/>
                <a:cs typeface="Times New Roman"/>
              </a:rPr>
              <a:t>ption teams </a:t>
            </a:r>
          </a:p>
          <a:p>
            <a:pPr marL="171450" indent="-171450">
              <a:buFont typeface="Wingdings"/>
              <a:buChar char="§"/>
            </a:pPr>
            <a:r>
              <a:rPr lang="en-US" sz="1100" kern="100" dirty="0">
                <a:latin typeface="+mj-lt"/>
                <a:cs typeface="Times New Roman"/>
              </a:rPr>
              <a:t>Create broader implementation roadmap based of pilot ex</a:t>
            </a:r>
            <a:r>
              <a:rPr lang="en-US" sz="1100" kern="100" dirty="0">
                <a:solidFill>
                  <a:schemeClr val="accent1"/>
                </a:solidFill>
                <a:latin typeface="+mj-lt"/>
                <a:cs typeface="Times New Roman"/>
              </a:rPr>
              <a:t>pe</a:t>
            </a:r>
            <a:r>
              <a:rPr lang="en-US" sz="1100" kern="100" dirty="0">
                <a:latin typeface="+mj-lt"/>
                <a:cs typeface="Times New Roman"/>
              </a:rPr>
              <a:t>riences </a:t>
            </a:r>
          </a:p>
          <a:p>
            <a:pPr indent="0">
              <a:buFontTx/>
              <a:buNone/>
            </a:pPr>
            <a:endParaRPr lang="en-US" sz="1100" b="1" kern="100" dirty="0">
              <a:latin typeface="+mj-lt"/>
              <a:cs typeface="Times New Roman" panose="02020603050405020304" pitchFamily="18" charset="0"/>
            </a:endParaRPr>
          </a:p>
          <a:p>
            <a:endParaRPr lang="en-US" sz="1100" kern="100" dirty="0">
              <a:latin typeface="+mj-lt"/>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31972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tags/tag1.xml><?xml version="1.0" encoding="utf-8"?>
<p:tagLst xmlns:a="http://schemas.openxmlformats.org/drawingml/2006/main" xmlns:r="http://schemas.openxmlformats.org/officeDocument/2006/relationships" xmlns:p="http://schemas.openxmlformats.org/presentationml/2006/main">
  <p:tag name="SBLANGUAGEID" val="en-U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stNL Templateset">
  <a:themeElements>
    <a:clrScheme name="STARTDOCUMENTEN">
      <a:dk1>
        <a:srgbClr val="000000"/>
      </a:dk1>
      <a:lt1>
        <a:srgbClr val="FFFFFF"/>
      </a:lt1>
      <a:dk2>
        <a:srgbClr val="BCBCBC"/>
      </a:dk2>
      <a:lt2>
        <a:srgbClr val="EFEFEF"/>
      </a:lt2>
      <a:accent1>
        <a:srgbClr val="F56900"/>
      </a:accent1>
      <a:accent2>
        <a:srgbClr val="001A73"/>
      </a:accent2>
      <a:accent3>
        <a:srgbClr val="6161FF"/>
      </a:accent3>
      <a:accent4>
        <a:srgbClr val="005E35"/>
      </a:accent4>
      <a:accent5>
        <a:srgbClr val="E75204"/>
      </a:accent5>
      <a:accent6>
        <a:srgbClr val="00BB53"/>
      </a:accent6>
      <a:hlink>
        <a:srgbClr val="555555"/>
      </a:hlink>
      <a:folHlink>
        <a:srgbClr val="BCBCBC"/>
      </a:folHlink>
    </a:clrScheme>
    <a:fontScheme name="PostNL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lnSpc>
            <a:spcPct val="90000"/>
          </a:lnSpc>
          <a:spcBef>
            <a:spcPts val="200"/>
          </a:spcBef>
          <a:spcAft>
            <a:spcPts val="200"/>
          </a:spcAft>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Bef>
            <a:spcPts val="600"/>
          </a:spcBef>
          <a:spcAft>
            <a:spcPts val="600"/>
          </a:spcAft>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PostNL 2017">
  <a:themeElements>
    <a:clrScheme name="PostNL 2017">
      <a:dk1>
        <a:srgbClr val="27324C"/>
      </a:dk1>
      <a:lt1>
        <a:srgbClr val="FFFFFF"/>
      </a:lt1>
      <a:dk2>
        <a:srgbClr val="27324C"/>
      </a:dk2>
      <a:lt2>
        <a:srgbClr val="ADB5C5"/>
      </a:lt2>
      <a:accent1>
        <a:srgbClr val="ED8C00"/>
      </a:accent1>
      <a:accent2>
        <a:srgbClr val="3440B6"/>
      </a:accent2>
      <a:accent3>
        <a:srgbClr val="00A1E1"/>
      </a:accent3>
      <a:accent4>
        <a:srgbClr val="E75204"/>
      </a:accent4>
      <a:accent5>
        <a:srgbClr val="ADB5C5"/>
      </a:accent5>
      <a:accent6>
        <a:srgbClr val="F9B112"/>
      </a:accent6>
      <a:hlink>
        <a:srgbClr val="00A1E1"/>
      </a:hlink>
      <a:folHlink>
        <a:srgbClr val="D7003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FF"/>
        </a:solidFill>
        <a:ln w="19050" cap="sq">
          <a:solidFill>
            <a:srgbClr val="ED8C00"/>
          </a:solidFill>
        </a:ln>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sq"/>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180000" tIns="180000" rIns="180000" bIns="180000" rtlCol="0">
        <a:noAutofit/>
      </a:bodyPr>
      <a:lstStyle>
        <a:defPPr>
          <a:defRPr smtClean="0"/>
        </a:defPPr>
      </a:lstStyle>
    </a:txDef>
  </a:objectDefaults>
  <a:extraClrSchemeLst/>
  <a:custClrLst>
    <a:custClr name="PostNL Oranje">
      <a:srgbClr val="ED8C00"/>
    </a:custClr>
    <a:custClr name="PostNL Blauw">
      <a:srgbClr val="3440B6"/>
    </a:custClr>
    <a:custClr name="PostNL Licht Blauw">
      <a:srgbClr val="00A1E1"/>
    </a:custClr>
    <a:custClr name="PostNL Intens Oranje">
      <a:srgbClr val="E75204"/>
    </a:custClr>
    <a:custClr name="PostNL Grijs">
      <a:srgbClr val="ADB5C5"/>
    </a:custClr>
    <a:custClr name="PostNL Licht Oranje">
      <a:srgbClr val="F9B112"/>
    </a:custClr>
    <a:custClr name="PostNL Licht Grijs">
      <a:srgbClr val="D4D9E3"/>
    </a:custClr>
    <a:custClr name="PostNL Donker Grijs">
      <a:srgbClr val="27324C"/>
    </a:custClr>
    <a:custClr name="PostNL Actie">
      <a:srgbClr val="CE0036"/>
    </a:custClr>
    <a:custClr name="PostNL Groen">
      <a:srgbClr val="43B02A"/>
    </a:custClr>
    <a:custClr name="Wit">
      <a:srgbClr val="FFFFFF"/>
    </a:custClr>
    <a:custClr name="PostNL Lichtgrijs toon">
      <a:srgbClr val="F3F4F7"/>
    </a:custClr>
  </a:custClrLst>
  <a:extLst>
    <a:ext uri="{05A4C25C-085E-4340-85A3-A5531E510DB2}">
      <thm15:themeFamily xmlns:thm15="http://schemas.microsoft.com/office/thememl/2012/main" name="PostNL_PP_Template_20170420.pptx" id="{2EF739AB-1328-4C0F-A3D7-17E6F4CB16D0}" vid="{B8E9E4E8-EE91-4B13-AA2A-332666836703}"/>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C7413959AEDD498B5F800C8BF643EC" ma:contentTypeVersion="102" ma:contentTypeDescription="Een nieuw document maken." ma:contentTypeScope="" ma:versionID="f89963e3dca49fd4125018d945ab2f54">
  <xsd:schema xmlns:xsd="http://www.w3.org/2001/XMLSchema" xmlns:xs="http://www.w3.org/2001/XMLSchema" xmlns:p="http://schemas.microsoft.com/office/2006/metadata/properties" xmlns:ns2="dc9857d7-3845-4864-a63c-887d8d3fc813" xmlns:ns3="07f368b2-df2d-40a9-89dd-62c2ad3f59b3" xmlns:ns4="4a64d9fb-6307-4cef-92d7-03c2cca2b700" targetNamespace="http://schemas.microsoft.com/office/2006/metadata/properties" ma:root="true" ma:fieldsID="77b28883ca26854f9ab0a829b621afdd" ns2:_="" ns3:_="" ns4:_="">
    <xsd:import namespace="dc9857d7-3845-4864-a63c-887d8d3fc813"/>
    <xsd:import namespace="07f368b2-df2d-40a9-89dd-62c2ad3f59b3"/>
    <xsd:import namespace="4a64d9fb-6307-4cef-92d7-03c2cca2b700"/>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9857d7-3845-4864-a63c-887d8d3fc81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Afbeeldingtags" ma:readOnly="false" ma:fieldId="{5cf76f15-5ced-4ddc-b409-7134ff3c332f}" ma:taxonomyMulti="true" ma:sspId="bfdd1858-e21a-4dc0-9eb0-0eda04e424b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7f368b2-df2d-40a9-89dd-62c2ad3f59b3" elementFormDefault="qualified">
    <xsd:import namespace="http://schemas.microsoft.com/office/2006/documentManagement/types"/>
    <xsd:import namespace="http://schemas.microsoft.com/office/infopath/2007/PartnerControls"/>
    <xsd:element name="SharedWithUsers" ma:index="11"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a64d9fb-6307-4cef-92d7-03c2cca2b700"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879cfc7-7f94-4370-9011-b6166d950801}" ma:internalName="TaxCatchAll" ma:showField="CatchAllData" ma:web="2eb07bc6-0bd4-41a6-b5fe-5e581aa61b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lcf76f155ced4ddcb4097134ff3c332f xmlns="dc9857d7-3845-4864-a63c-887d8d3fc813">
      <Terms xmlns="http://schemas.microsoft.com/office/infopath/2007/PartnerControls"/>
    </lcf76f155ced4ddcb4097134ff3c332f>
    <TaxCatchAll xmlns="4a64d9fb-6307-4cef-92d7-03c2cca2b700" xsi:nil="true"/>
    <SharedWithUsers xmlns="07f368b2-df2d-40a9-89dd-62c2ad3f59b3">
      <UserInfo>
        <DisplayName>Zweeden, Anne van</DisplayName>
        <AccountId>10920</AccountId>
        <AccountType/>
      </UserInfo>
    </SharedWithUsers>
  </documentManagement>
</p:properties>
</file>

<file path=customXml/item5.xml><?xml version="1.0" encoding="utf-8"?>
<?mso-contentType ?>
<SharedContentType xmlns="Microsoft.SharePoint.Taxonomy.ContentTypeSync" SourceId="521ee6b9-0bd5-45bb-a028-cf13b08c6ebd" ContentTypeId="0x0101" PreviousValue="true"/>
</file>

<file path=customXml/itemProps1.xml><?xml version="1.0" encoding="utf-8"?>
<ds:datastoreItem xmlns:ds="http://schemas.openxmlformats.org/officeDocument/2006/customXml" ds:itemID="{3AB02C8D-839C-4B85-AAB1-3511D5F5A883}">
  <ds:schemaRefs>
    <ds:schemaRef ds:uri="07f368b2-df2d-40a9-89dd-62c2ad3f59b3"/>
    <ds:schemaRef ds:uri="4a64d9fb-6307-4cef-92d7-03c2cca2b700"/>
    <ds:schemaRef ds:uri="dc9857d7-3845-4864-a63c-887d8d3fc81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0681349-3747-4691-B1F8-E2D95778E5E0}">
  <ds:schemaRefs>
    <ds:schemaRef ds:uri="http://schemas.microsoft.com/sharepoint/events"/>
  </ds:schemaRefs>
</ds:datastoreItem>
</file>

<file path=customXml/itemProps3.xml><?xml version="1.0" encoding="utf-8"?>
<ds:datastoreItem xmlns:ds="http://schemas.openxmlformats.org/officeDocument/2006/customXml" ds:itemID="{B92A9002-63CD-4E26-A8AE-0239009C6066}">
  <ds:schemaRefs>
    <ds:schemaRef ds:uri="http://schemas.microsoft.com/sharepoint/v3/contenttype/forms"/>
  </ds:schemaRefs>
</ds:datastoreItem>
</file>

<file path=customXml/itemProps4.xml><?xml version="1.0" encoding="utf-8"?>
<ds:datastoreItem xmlns:ds="http://schemas.openxmlformats.org/officeDocument/2006/customXml" ds:itemID="{E2187A9D-880D-43E5-9AB7-4391CE446660}">
  <ds:schemaRefs>
    <ds:schemaRef ds:uri="07f368b2-df2d-40a9-89dd-62c2ad3f59b3"/>
    <ds:schemaRef ds:uri="4a64d9fb-6307-4cef-92d7-03c2cca2b700"/>
    <ds:schemaRef ds:uri="dc9857d7-3845-4864-a63c-887d8d3fc813"/>
    <ds:schemaRef ds:uri="http://schemas.microsoft.com/office/2006/metadata/properties"/>
    <ds:schemaRef ds:uri="http://schemas.microsoft.com/office/infopath/2007/PartnerControls"/>
  </ds:schemaRefs>
</ds:datastoreItem>
</file>

<file path=customXml/itemProps5.xml><?xml version="1.0" encoding="utf-8"?>
<ds:datastoreItem xmlns:ds="http://schemas.openxmlformats.org/officeDocument/2006/customXml" ds:itemID="{1D1C2ABF-9729-4DB8-9688-3194316CE444}">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36</TotalTime>
  <Words>1516</Words>
  <Application>Microsoft Office PowerPoint</Application>
  <PresentationFormat>Breedbeeld</PresentationFormat>
  <Paragraphs>117</Paragraphs>
  <Slides>5</Slides>
  <Notes>2</Notes>
  <HiddenSlides>0</HiddenSlides>
  <MMClips>0</MMClips>
  <ScaleCrop>false</ScaleCrop>
  <HeadingPairs>
    <vt:vector size="8" baseType="variant">
      <vt:variant>
        <vt:lpstr>Gebruikte lettertypen</vt:lpstr>
      </vt:variant>
      <vt:variant>
        <vt:i4>7</vt:i4>
      </vt:variant>
      <vt:variant>
        <vt:lpstr>Thema</vt:lpstr>
      </vt:variant>
      <vt:variant>
        <vt:i4>2</vt:i4>
      </vt:variant>
      <vt:variant>
        <vt:lpstr>Ingesloten OLE-bronprogramma's</vt:lpstr>
      </vt:variant>
      <vt:variant>
        <vt:i4>1</vt:i4>
      </vt:variant>
      <vt:variant>
        <vt:lpstr>Diatitels</vt:lpstr>
      </vt:variant>
      <vt:variant>
        <vt:i4>5</vt:i4>
      </vt:variant>
    </vt:vector>
  </HeadingPairs>
  <TitlesOfParts>
    <vt:vector size="15" baseType="lpstr">
      <vt:lpstr>Arial</vt:lpstr>
      <vt:lpstr>Arial,Sans-Serif</vt:lpstr>
      <vt:lpstr>Calibri</vt:lpstr>
      <vt:lpstr>Calibri,Sans-Serif</vt:lpstr>
      <vt:lpstr>Courier New</vt:lpstr>
      <vt:lpstr>Segoe UI Light</vt:lpstr>
      <vt:lpstr>Wingdings</vt:lpstr>
      <vt:lpstr>PostNL Templateset</vt:lpstr>
      <vt:lpstr>4_PostNL 2017</vt:lpstr>
      <vt:lpstr>think-cell Slide</vt:lpstr>
      <vt:lpstr>Titeldia</vt:lpstr>
      <vt:lpstr>Capabilities template </vt:lpstr>
      <vt:lpstr>Capability overview: Master Data</vt:lpstr>
      <vt:lpstr>Capability overview: Master Data Management</vt:lpstr>
      <vt:lpstr>Capability overview: metadata manage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dia</dc:title>
  <dc:creator>Vorst, Anne van de</dc:creator>
  <cp:lastModifiedBy>Yilmaz - Dönmez, Sakine</cp:lastModifiedBy>
  <cp:revision>4</cp:revision>
  <dcterms:created xsi:type="dcterms:W3CDTF">2024-01-30T11:41:17Z</dcterms:created>
  <dcterms:modified xsi:type="dcterms:W3CDTF">2024-02-16T09:5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C7413959AEDD498B5F800C8BF643EC</vt:lpwstr>
  </property>
  <property fmtid="{D5CDD505-2E9C-101B-9397-08002B2CF9AE}" pid="3" name="MediaServiceImageTags">
    <vt:lpwstr/>
  </property>
</Properties>
</file>